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2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2.xml" ContentType="application/vnd.openxmlformats-officedocument.presentationml.tags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charts/chart1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charts/chart12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charts/chart13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charts/chart14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charts/chart15.xml" ContentType="application/vnd.openxmlformats-officedocument.drawingml.chart+xml"/>
  <Override PartName="/ppt/charts/style15.xml" ContentType="application/vnd.ms-office.chartstyle+xml"/>
  <Override PartName="/ppt/charts/colors15.xml" ContentType="application/vnd.ms-office.chartcolorstyle+xml"/>
  <Override PartName="/ppt/charts/chart16.xml" ContentType="application/vnd.openxmlformats-officedocument.drawingml.chart+xml"/>
  <Override PartName="/ppt/charts/style16.xml" ContentType="application/vnd.ms-office.chartstyle+xml"/>
  <Override PartName="/ppt/charts/colors16.xml" ContentType="application/vnd.ms-office.chartcolorstyle+xml"/>
  <Override PartName="/ppt/tags/tag32.xml" ContentType="application/vnd.openxmlformats-officedocument.presentationml.tags+xml"/>
  <Override PartName="/ppt/charts/chart17.xml" ContentType="application/vnd.openxmlformats-officedocument.drawingml.chart+xml"/>
  <Override PartName="/ppt/charts/style17.xml" ContentType="application/vnd.ms-office.chartstyle+xml"/>
  <Override PartName="/ppt/charts/colors17.xml" ContentType="application/vnd.ms-office.chartcolorstyle+xml"/>
  <Override PartName="/ppt/tags/tag33.xml" ContentType="application/vnd.openxmlformats-officedocument.presentationml.tags+xml"/>
  <Override PartName="/ppt/charts/chart18.xml" ContentType="application/vnd.openxmlformats-officedocument.drawingml.chart+xml"/>
  <Override PartName="/ppt/charts/style18.xml" ContentType="application/vnd.ms-office.chartstyle+xml"/>
  <Override PartName="/ppt/charts/colors18.xml" ContentType="application/vnd.ms-office.chartcolorstyle+xml"/>
  <Override PartName="/ppt/tags/tag34.xml" ContentType="application/vnd.openxmlformats-officedocument.presentationml.tags+xml"/>
  <Override PartName="/ppt/charts/chart19.xml" ContentType="application/vnd.openxmlformats-officedocument.drawingml.chart+xml"/>
  <Override PartName="/ppt/charts/style19.xml" ContentType="application/vnd.ms-office.chartstyle+xml"/>
  <Override PartName="/ppt/charts/colors19.xml" ContentType="application/vnd.ms-office.chartcolorstyle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charts/chart20.xml" ContentType="application/vnd.openxmlformats-officedocument.drawingml.chart+xml"/>
  <Override PartName="/ppt/charts/style20.xml" ContentType="application/vnd.ms-office.chartstyle+xml"/>
  <Override PartName="/ppt/charts/colors20.xml" ContentType="application/vnd.ms-office.chartcolorstyle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charts/chart21.xml" ContentType="application/vnd.openxmlformats-officedocument.drawingml.chart+xml"/>
  <Override PartName="/ppt/charts/style21.xml" ContentType="application/vnd.ms-office.chartstyle+xml"/>
  <Override PartName="/ppt/charts/colors21.xml" ContentType="application/vnd.ms-office.chartcolorstyle+xml"/>
  <Override PartName="/ppt/tags/tag40.xml" ContentType="application/vnd.openxmlformats-officedocument.presentationml.tags+xml"/>
  <Override PartName="/ppt/charts/chart22.xml" ContentType="application/vnd.openxmlformats-officedocument.drawingml.chart+xml"/>
  <Override PartName="/ppt/charts/style22.xml" ContentType="application/vnd.ms-office.chartstyle+xml"/>
  <Override PartName="/ppt/charts/colors22.xml" ContentType="application/vnd.ms-office.chartcolorstyle+xml"/>
  <Override PartName="/ppt/charts/chart23.xml" ContentType="application/vnd.openxmlformats-officedocument.drawingml.chart+xml"/>
  <Override PartName="/ppt/charts/style23.xml" ContentType="application/vnd.ms-office.chartstyle+xml"/>
  <Override PartName="/ppt/charts/colors23.xml" ContentType="application/vnd.ms-office.chartcolorstyle+xml"/>
  <Override PartName="/ppt/charts/chart24.xml" ContentType="application/vnd.openxmlformats-officedocument.drawingml.chart+xml"/>
  <Override PartName="/ppt/charts/style24.xml" ContentType="application/vnd.ms-office.chartstyle+xml"/>
  <Override PartName="/ppt/charts/colors24.xml" ContentType="application/vnd.ms-office.chartcolorstyle+xml"/>
  <Override PartName="/ppt/charts/chart25.xml" ContentType="application/vnd.openxmlformats-officedocument.drawingml.chart+xml"/>
  <Override PartName="/ppt/charts/style25.xml" ContentType="application/vnd.ms-office.chartstyle+xml"/>
  <Override PartName="/ppt/charts/colors25.xml" ContentType="application/vnd.ms-office.chartcolorstyle+xml"/>
  <Override PartName="/ppt/charts/chart26.xml" ContentType="application/vnd.openxmlformats-officedocument.drawingml.chart+xml"/>
  <Override PartName="/ppt/charts/style26.xml" ContentType="application/vnd.ms-office.chartstyle+xml"/>
  <Override PartName="/ppt/charts/colors26.xml" ContentType="application/vnd.ms-office.chartcolorstyle+xml"/>
  <Override PartName="/ppt/charts/chart27.xml" ContentType="application/vnd.openxmlformats-officedocument.drawingml.chart+xml"/>
  <Override PartName="/ppt/charts/style27.xml" ContentType="application/vnd.ms-office.chartstyle+xml"/>
  <Override PartName="/ppt/charts/colors27.xml" ContentType="application/vnd.ms-office.chartcolorstyle+xml"/>
  <Override PartName="/ppt/charts/chart28.xml" ContentType="application/vnd.openxmlformats-officedocument.drawingml.chart+xml"/>
  <Override PartName="/ppt/charts/style28.xml" ContentType="application/vnd.ms-office.chartstyle+xml"/>
  <Override PartName="/ppt/charts/colors28.xml" ContentType="application/vnd.ms-office.chartcolorstyle+xml"/>
  <Override PartName="/ppt/charts/chart29.xml" ContentType="application/vnd.openxmlformats-officedocument.drawingml.chart+xml"/>
  <Override PartName="/ppt/charts/style29.xml" ContentType="application/vnd.ms-office.chartstyle+xml"/>
  <Override PartName="/ppt/charts/colors29.xml" ContentType="application/vnd.ms-office.chartcolorstyle+xml"/>
  <Override PartName="/ppt/charts/chart30.xml" ContentType="application/vnd.openxmlformats-officedocument.drawingml.chart+xml"/>
  <Override PartName="/ppt/charts/style30.xml" ContentType="application/vnd.ms-office.chartstyle+xml"/>
  <Override PartName="/ppt/charts/colors30.xml" ContentType="application/vnd.ms-office.chartcolorstyle+xml"/>
  <Override PartName="/ppt/charts/chart31.xml" ContentType="application/vnd.openxmlformats-officedocument.drawingml.chart+xml"/>
  <Override PartName="/ppt/charts/style31.xml" ContentType="application/vnd.ms-office.chartstyle+xml"/>
  <Override PartName="/ppt/charts/colors31.xml" ContentType="application/vnd.ms-office.chartcolorstyle+xml"/>
  <Override PartName="/ppt/charts/chart32.xml" ContentType="application/vnd.openxmlformats-officedocument.drawingml.chart+xml"/>
  <Override PartName="/ppt/charts/style32.xml" ContentType="application/vnd.ms-office.chartstyle+xml"/>
  <Override PartName="/ppt/charts/colors32.xml" ContentType="application/vnd.ms-office.chartcolorstyle+xml"/>
  <Override PartName="/ppt/charts/chart33.xml" ContentType="application/vnd.openxmlformats-officedocument.drawingml.chart+xml"/>
  <Override PartName="/ppt/charts/style33.xml" ContentType="application/vnd.ms-office.chartstyle+xml"/>
  <Override PartName="/ppt/charts/colors33.xml" ContentType="application/vnd.ms-office.chartcolorstyle+xml"/>
  <Override PartName="/ppt/charts/chart34.xml" ContentType="application/vnd.openxmlformats-officedocument.drawingml.chart+xml"/>
  <Override PartName="/ppt/charts/style34.xml" ContentType="application/vnd.ms-office.chartstyle+xml"/>
  <Override PartName="/ppt/charts/colors34.xml" ContentType="application/vnd.ms-office.chartcolorstyle+xml"/>
  <Override PartName="/ppt/charts/chart35.xml" ContentType="application/vnd.openxmlformats-officedocument.drawingml.chart+xml"/>
  <Override PartName="/ppt/charts/style35.xml" ContentType="application/vnd.ms-office.chartstyle+xml"/>
  <Override PartName="/ppt/charts/colors35.xml" ContentType="application/vnd.ms-office.chartcolorstyle+xml"/>
  <Override PartName="/ppt/charts/chart36.xml" ContentType="application/vnd.openxmlformats-officedocument.drawingml.chart+xml"/>
  <Override PartName="/ppt/charts/style36.xml" ContentType="application/vnd.ms-office.chartstyle+xml"/>
  <Override PartName="/ppt/charts/colors36.xml" ContentType="application/vnd.ms-office.chartcolorstyle+xml"/>
  <Override PartName="/ppt/charts/chart37.xml" ContentType="application/vnd.openxmlformats-officedocument.drawingml.chart+xml"/>
  <Override PartName="/ppt/charts/style37.xml" ContentType="application/vnd.ms-office.chartstyle+xml"/>
  <Override PartName="/ppt/charts/colors37.xml" ContentType="application/vnd.ms-office.chartcolorstyle+xml"/>
  <Override PartName="/ppt/charts/chart38.xml" ContentType="application/vnd.openxmlformats-officedocument.drawingml.chart+xml"/>
  <Override PartName="/ppt/charts/style38.xml" ContentType="application/vnd.ms-office.chartstyle+xml"/>
  <Override PartName="/ppt/charts/colors38.xml" ContentType="application/vnd.ms-office.chartcolorstyle+xml"/>
  <Override PartName="/ppt/charts/chart39.xml" ContentType="application/vnd.openxmlformats-officedocument.drawingml.chart+xml"/>
  <Override PartName="/ppt/charts/style39.xml" ContentType="application/vnd.ms-office.chartstyle+xml"/>
  <Override PartName="/ppt/charts/colors39.xml" ContentType="application/vnd.ms-office.chartcolorstyle+xml"/>
  <Override PartName="/ppt/charts/chart40.xml" ContentType="application/vnd.openxmlformats-officedocument.drawingml.chart+xml"/>
  <Override PartName="/ppt/charts/style40.xml" ContentType="application/vnd.ms-office.chartstyle+xml"/>
  <Override PartName="/ppt/charts/colors40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60"/>
  </p:notesMasterIdLst>
  <p:sldIdLst>
    <p:sldId id="1428" r:id="rId2"/>
    <p:sldId id="1551" r:id="rId3"/>
    <p:sldId id="1552" r:id="rId4"/>
    <p:sldId id="1925" r:id="rId5"/>
    <p:sldId id="1922" r:id="rId6"/>
    <p:sldId id="1924" r:id="rId7"/>
    <p:sldId id="1961" r:id="rId8"/>
    <p:sldId id="1993" r:id="rId9"/>
    <p:sldId id="1945" r:id="rId10"/>
    <p:sldId id="1962" r:id="rId11"/>
    <p:sldId id="1964" r:id="rId12"/>
    <p:sldId id="1965" r:id="rId13"/>
    <p:sldId id="1966" r:id="rId14"/>
    <p:sldId id="1980" r:id="rId15"/>
    <p:sldId id="1981" r:id="rId16"/>
    <p:sldId id="1982" r:id="rId17"/>
    <p:sldId id="1983" r:id="rId18"/>
    <p:sldId id="1984" r:id="rId19"/>
    <p:sldId id="1985" r:id="rId20"/>
    <p:sldId id="1986" r:id="rId21"/>
    <p:sldId id="1987" r:id="rId22"/>
    <p:sldId id="1988" r:id="rId23"/>
    <p:sldId id="1989" r:id="rId24"/>
    <p:sldId id="1990" r:id="rId25"/>
    <p:sldId id="1991" r:id="rId26"/>
    <p:sldId id="1942" r:id="rId27"/>
    <p:sldId id="1474" r:id="rId28"/>
    <p:sldId id="1481" r:id="rId29"/>
    <p:sldId id="1482" r:id="rId30"/>
    <p:sldId id="1475" r:id="rId31"/>
    <p:sldId id="1483" r:id="rId32"/>
    <p:sldId id="1923" r:id="rId33"/>
    <p:sldId id="1476" r:id="rId34"/>
    <p:sldId id="1523" r:id="rId35"/>
    <p:sldId id="1524" r:id="rId36"/>
    <p:sldId id="1595" r:id="rId37"/>
    <p:sldId id="1639" r:id="rId38"/>
    <p:sldId id="1802" r:id="rId39"/>
    <p:sldId id="1829" r:id="rId40"/>
    <p:sldId id="1823" r:id="rId41"/>
    <p:sldId id="1845" r:id="rId42"/>
    <p:sldId id="1864" r:id="rId43"/>
    <p:sldId id="1866" r:id="rId44"/>
    <p:sldId id="1886" r:id="rId45"/>
    <p:sldId id="1528" r:id="rId46"/>
    <p:sldId id="1530" r:id="rId47"/>
    <p:sldId id="1571" r:id="rId48"/>
    <p:sldId id="1572" r:id="rId49"/>
    <p:sldId id="1596" r:id="rId50"/>
    <p:sldId id="1615" r:id="rId51"/>
    <p:sldId id="1617" r:id="rId52"/>
    <p:sldId id="1641" r:id="rId53"/>
    <p:sldId id="1784" r:id="rId54"/>
    <p:sldId id="1804" r:id="rId55"/>
    <p:sldId id="1888" r:id="rId56"/>
    <p:sldId id="1907" r:id="rId57"/>
    <p:sldId id="1592" r:id="rId58"/>
    <p:sldId id="1593" r:id="rId59"/>
  </p:sldIdLst>
  <p:sldSz cx="12192000" cy="6858000"/>
  <p:notesSz cx="6858000" cy="9144000"/>
  <p:custDataLst>
    <p:tags r:id="rId61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23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užík Jan RNDr. Ph.D." initials="MJRP" lastIdx="1" clrIdx="0">
    <p:extLst>
      <p:ext uri="{19B8F6BF-5375-455C-9EA6-DF929625EA0E}">
        <p15:presenceInfo xmlns:p15="http://schemas.microsoft.com/office/powerpoint/2012/main" userId="Mužík Jan RNDr. Ph.D.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2D050"/>
    <a:srgbClr val="0000FF"/>
    <a:srgbClr val="FCE34E"/>
    <a:srgbClr val="FFFF00"/>
    <a:srgbClr val="E4F828"/>
    <a:srgbClr val="000000"/>
    <a:srgbClr val="00FF00"/>
    <a:srgbClr val="FF9966"/>
    <a:srgbClr val="FF9933"/>
    <a:srgbClr val="00B0F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Bez stylu, mřížka tabulky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Střední styl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16DA210-FB5B-4158-B5E0-FEB733F419BA}" styleName="Světlý styl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9D7B26C5-4107-4FEC-AEDC-1716B250A1EF}" styleName="Světlý styl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3B4B98B0-60AC-42C2-AFA5-B58CD77FA1E5}" styleName="Světlý styl 1 – zvýraznění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1599" autoAdjust="0"/>
    <p:restoredTop sz="96400" autoAdjust="0"/>
  </p:normalViewPr>
  <p:slideViewPr>
    <p:cSldViewPr snapToGrid="0">
      <p:cViewPr varScale="1">
        <p:scale>
          <a:sx n="104" d="100"/>
          <a:sy n="104" d="100"/>
        </p:scale>
        <p:origin x="348" y="102"/>
      </p:cViewPr>
      <p:guideLst>
        <p:guide orient="horz" pos="1230"/>
        <p:guide pos="384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63" Type="http://schemas.openxmlformats.org/officeDocument/2006/relationships/presProps" Target="presProp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66" Type="http://schemas.openxmlformats.org/officeDocument/2006/relationships/tableStyles" Target="tableStyles.xml"/><Relationship Id="rId5" Type="http://schemas.openxmlformats.org/officeDocument/2006/relationships/slide" Target="slides/slide4.xml"/><Relationship Id="rId61" Type="http://schemas.openxmlformats.org/officeDocument/2006/relationships/tags" Target="tags/tag1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viewProps" Target="viewProps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commentAuthors" Target="commentAuthor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notesMaster" Target="notesMasters/notesMaster1.xml"/><Relationship Id="rId65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slide" Target="slides/slide38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0.xlsx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1.xlsx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2.xlsx"/><Relationship Id="rId2" Type="http://schemas.microsoft.com/office/2011/relationships/chartColorStyle" Target="colors13.xml"/><Relationship Id="rId1" Type="http://schemas.microsoft.com/office/2011/relationships/chartStyle" Target="style13.xm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3.xlsx"/><Relationship Id="rId2" Type="http://schemas.microsoft.com/office/2011/relationships/chartColorStyle" Target="colors14.xml"/><Relationship Id="rId1" Type="http://schemas.microsoft.com/office/2011/relationships/chartStyle" Target="style14.xml"/></Relationships>
</file>

<file path=ppt/charts/_rels/chart1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4.xlsx"/><Relationship Id="rId2" Type="http://schemas.microsoft.com/office/2011/relationships/chartColorStyle" Target="colors15.xml"/><Relationship Id="rId1" Type="http://schemas.microsoft.com/office/2011/relationships/chartStyle" Target="style15.xml"/></Relationships>
</file>

<file path=ppt/charts/_rels/chart1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5.xlsx"/><Relationship Id="rId2" Type="http://schemas.microsoft.com/office/2011/relationships/chartColorStyle" Target="colors16.xml"/><Relationship Id="rId1" Type="http://schemas.microsoft.com/office/2011/relationships/chartStyle" Target="style16.xml"/></Relationships>
</file>

<file path=ppt/charts/_rels/chart1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6.xlsx"/><Relationship Id="rId2" Type="http://schemas.microsoft.com/office/2011/relationships/chartColorStyle" Target="colors17.xml"/><Relationship Id="rId1" Type="http://schemas.microsoft.com/office/2011/relationships/chartStyle" Target="style17.xml"/></Relationships>
</file>

<file path=ppt/charts/_rels/chart1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7.xlsx"/><Relationship Id="rId2" Type="http://schemas.microsoft.com/office/2011/relationships/chartColorStyle" Target="colors18.xml"/><Relationship Id="rId1" Type="http://schemas.microsoft.com/office/2011/relationships/chartStyle" Target="style18.xml"/></Relationships>
</file>

<file path=ppt/charts/_rels/chart1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8.xlsx"/><Relationship Id="rId2" Type="http://schemas.microsoft.com/office/2011/relationships/chartColorStyle" Target="colors19.xml"/><Relationship Id="rId1" Type="http://schemas.microsoft.com/office/2011/relationships/chartStyle" Target="style19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2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9.xlsx"/><Relationship Id="rId2" Type="http://schemas.microsoft.com/office/2011/relationships/chartColorStyle" Target="colors20.xml"/><Relationship Id="rId1" Type="http://schemas.microsoft.com/office/2011/relationships/chartStyle" Target="style20.xml"/></Relationships>
</file>

<file path=ppt/charts/_rels/chart2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0.xlsx"/><Relationship Id="rId2" Type="http://schemas.microsoft.com/office/2011/relationships/chartColorStyle" Target="colors21.xml"/><Relationship Id="rId1" Type="http://schemas.microsoft.com/office/2011/relationships/chartStyle" Target="style21.xml"/></Relationships>
</file>

<file path=ppt/charts/_rels/chart2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1.xlsx"/><Relationship Id="rId2" Type="http://schemas.microsoft.com/office/2011/relationships/chartColorStyle" Target="colors22.xml"/><Relationship Id="rId1" Type="http://schemas.microsoft.com/office/2011/relationships/chartStyle" Target="style22.xml"/></Relationships>
</file>

<file path=ppt/charts/_rels/chart2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2.xlsx"/><Relationship Id="rId2" Type="http://schemas.microsoft.com/office/2011/relationships/chartColorStyle" Target="colors23.xml"/><Relationship Id="rId1" Type="http://schemas.microsoft.com/office/2011/relationships/chartStyle" Target="style23.xml"/></Relationships>
</file>

<file path=ppt/charts/_rels/chart2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3.xlsx"/><Relationship Id="rId2" Type="http://schemas.microsoft.com/office/2011/relationships/chartColorStyle" Target="colors24.xml"/><Relationship Id="rId1" Type="http://schemas.microsoft.com/office/2011/relationships/chartStyle" Target="style24.xml"/></Relationships>
</file>

<file path=ppt/charts/_rels/chart2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4.xlsx"/><Relationship Id="rId2" Type="http://schemas.microsoft.com/office/2011/relationships/chartColorStyle" Target="colors25.xml"/><Relationship Id="rId1" Type="http://schemas.microsoft.com/office/2011/relationships/chartStyle" Target="style25.xml"/></Relationships>
</file>

<file path=ppt/charts/_rels/chart2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5.xlsx"/><Relationship Id="rId2" Type="http://schemas.microsoft.com/office/2011/relationships/chartColorStyle" Target="colors26.xml"/><Relationship Id="rId1" Type="http://schemas.microsoft.com/office/2011/relationships/chartStyle" Target="style26.xml"/></Relationships>
</file>

<file path=ppt/charts/_rels/chart2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6.xlsx"/><Relationship Id="rId2" Type="http://schemas.microsoft.com/office/2011/relationships/chartColorStyle" Target="colors27.xml"/><Relationship Id="rId1" Type="http://schemas.microsoft.com/office/2011/relationships/chartStyle" Target="style27.xml"/></Relationships>
</file>

<file path=ppt/charts/_rels/chart2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7.xlsx"/><Relationship Id="rId2" Type="http://schemas.microsoft.com/office/2011/relationships/chartColorStyle" Target="colors28.xml"/><Relationship Id="rId1" Type="http://schemas.microsoft.com/office/2011/relationships/chartStyle" Target="style28.xml"/></Relationships>
</file>

<file path=ppt/charts/_rels/chart2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8.xlsx"/><Relationship Id="rId2" Type="http://schemas.microsoft.com/office/2011/relationships/chartColorStyle" Target="colors29.xml"/><Relationship Id="rId1" Type="http://schemas.microsoft.com/office/2011/relationships/chartStyle" Target="style29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3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9.xlsx"/><Relationship Id="rId2" Type="http://schemas.microsoft.com/office/2011/relationships/chartColorStyle" Target="colors30.xml"/><Relationship Id="rId1" Type="http://schemas.microsoft.com/office/2011/relationships/chartStyle" Target="style30.xml"/></Relationships>
</file>

<file path=ppt/charts/_rels/chart3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0.xlsx"/><Relationship Id="rId2" Type="http://schemas.microsoft.com/office/2011/relationships/chartColorStyle" Target="colors31.xml"/><Relationship Id="rId1" Type="http://schemas.microsoft.com/office/2011/relationships/chartStyle" Target="style31.xml"/></Relationships>
</file>

<file path=ppt/charts/_rels/chart3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1.xlsx"/><Relationship Id="rId2" Type="http://schemas.microsoft.com/office/2011/relationships/chartColorStyle" Target="colors32.xml"/><Relationship Id="rId1" Type="http://schemas.microsoft.com/office/2011/relationships/chartStyle" Target="style32.xml"/></Relationships>
</file>

<file path=ppt/charts/_rels/chart3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2.xlsx"/><Relationship Id="rId2" Type="http://schemas.microsoft.com/office/2011/relationships/chartColorStyle" Target="colors33.xml"/><Relationship Id="rId1" Type="http://schemas.microsoft.com/office/2011/relationships/chartStyle" Target="style33.xml"/></Relationships>
</file>

<file path=ppt/charts/_rels/chart3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3.xlsx"/><Relationship Id="rId2" Type="http://schemas.microsoft.com/office/2011/relationships/chartColorStyle" Target="colors34.xml"/><Relationship Id="rId1" Type="http://schemas.microsoft.com/office/2011/relationships/chartStyle" Target="style34.xml"/></Relationships>
</file>

<file path=ppt/charts/_rels/chart3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4.xlsx"/><Relationship Id="rId2" Type="http://schemas.microsoft.com/office/2011/relationships/chartColorStyle" Target="colors35.xml"/><Relationship Id="rId1" Type="http://schemas.microsoft.com/office/2011/relationships/chartStyle" Target="style35.xml"/></Relationships>
</file>

<file path=ppt/charts/_rels/chart3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5.xlsx"/><Relationship Id="rId2" Type="http://schemas.microsoft.com/office/2011/relationships/chartColorStyle" Target="colors36.xml"/><Relationship Id="rId1" Type="http://schemas.microsoft.com/office/2011/relationships/chartStyle" Target="style36.xml"/></Relationships>
</file>

<file path=ppt/charts/_rels/chart3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6.xlsx"/><Relationship Id="rId2" Type="http://schemas.microsoft.com/office/2011/relationships/chartColorStyle" Target="colors37.xml"/><Relationship Id="rId1" Type="http://schemas.microsoft.com/office/2011/relationships/chartStyle" Target="style37.xml"/></Relationships>
</file>

<file path=ppt/charts/_rels/chart3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7.xlsx"/><Relationship Id="rId2" Type="http://schemas.microsoft.com/office/2011/relationships/chartColorStyle" Target="colors38.xml"/><Relationship Id="rId1" Type="http://schemas.microsoft.com/office/2011/relationships/chartStyle" Target="style38.xml"/></Relationships>
</file>

<file path=ppt/charts/_rels/chart3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8.xlsx"/><Relationship Id="rId2" Type="http://schemas.microsoft.com/office/2011/relationships/chartColorStyle" Target="colors39.xml"/><Relationship Id="rId1" Type="http://schemas.microsoft.com/office/2011/relationships/chartStyle" Target="style39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4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9.xlsx"/><Relationship Id="rId2" Type="http://schemas.microsoft.com/office/2011/relationships/chartColorStyle" Target="colors40.xml"/><Relationship Id="rId1" Type="http://schemas.microsoft.com/office/2011/relationships/chartStyle" Target="style40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6200259161526445E-2"/>
          <c:y val="4.7634439213742094E-2"/>
          <c:w val="0.94059218467024752"/>
          <c:h val="0.7457723787496162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36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CM$1</c:f>
              <c:strCache>
                <c:ptCount val="90"/>
                <c:pt idx="0">
                  <c:v>27.4.–3.5.</c:v>
                </c:pt>
                <c:pt idx="1">
                  <c:v>4.5.–10.5.</c:v>
                </c:pt>
                <c:pt idx="2">
                  <c:v>11.5.–17.5.</c:v>
                </c:pt>
                <c:pt idx="3">
                  <c:v>18.5.–24.5.</c:v>
                </c:pt>
                <c:pt idx="4">
                  <c:v>25.5.–31.5.</c:v>
                </c:pt>
                <c:pt idx="5">
                  <c:v>1.6.–7.6.</c:v>
                </c:pt>
                <c:pt idx="6">
                  <c:v>8.6.–14.6.</c:v>
                </c:pt>
                <c:pt idx="7">
                  <c:v>15.6.–21.6.</c:v>
                </c:pt>
                <c:pt idx="8">
                  <c:v>22.6.–28.6.</c:v>
                </c:pt>
                <c:pt idx="9">
                  <c:v>29.6.–5.7.</c:v>
                </c:pt>
                <c:pt idx="10">
                  <c:v>6.7.–12.7.</c:v>
                </c:pt>
                <c:pt idx="11">
                  <c:v>13.7.–19.7.</c:v>
                </c:pt>
                <c:pt idx="12">
                  <c:v>20.7.–26.7.</c:v>
                </c:pt>
                <c:pt idx="13">
                  <c:v>27.7.–2.8.</c:v>
                </c:pt>
                <c:pt idx="14">
                  <c:v>3.8.–9.8.</c:v>
                </c:pt>
                <c:pt idx="15">
                  <c:v>10.8.–16.8.</c:v>
                </c:pt>
                <c:pt idx="16">
                  <c:v>17.8.–23.8.</c:v>
                </c:pt>
                <c:pt idx="17">
                  <c:v>24.8.–30.8.</c:v>
                </c:pt>
                <c:pt idx="18">
                  <c:v>31.8.–6.9.</c:v>
                </c:pt>
                <c:pt idx="19">
                  <c:v>7.9.–13.9.</c:v>
                </c:pt>
                <c:pt idx="20">
                  <c:v>14.9.–20.9.</c:v>
                </c:pt>
                <c:pt idx="21">
                  <c:v>21.9.–27.9.</c:v>
                </c:pt>
                <c:pt idx="22">
                  <c:v>28.9.–4.10.</c:v>
                </c:pt>
                <c:pt idx="23">
                  <c:v>5.10.–11.10.</c:v>
                </c:pt>
                <c:pt idx="24">
                  <c:v>12.10.–18.10.</c:v>
                </c:pt>
                <c:pt idx="25">
                  <c:v>19.10.–25.10.</c:v>
                </c:pt>
                <c:pt idx="26">
                  <c:v>26.10.–1.11.</c:v>
                </c:pt>
                <c:pt idx="27">
                  <c:v>2.11.–8.11.</c:v>
                </c:pt>
                <c:pt idx="28">
                  <c:v>9.11.–15.11.</c:v>
                </c:pt>
                <c:pt idx="29">
                  <c:v>16.11.–22.11.</c:v>
                </c:pt>
                <c:pt idx="30">
                  <c:v>23.11.–29.11.</c:v>
                </c:pt>
                <c:pt idx="31">
                  <c:v>30.11.–6.12.</c:v>
                </c:pt>
                <c:pt idx="32">
                  <c:v>7.12.–13.12.</c:v>
                </c:pt>
                <c:pt idx="33">
                  <c:v>14.12.–20.12.</c:v>
                </c:pt>
                <c:pt idx="34">
                  <c:v>21.12.–27.12.</c:v>
                </c:pt>
                <c:pt idx="35">
                  <c:v>28.12.–3.1.</c:v>
                </c:pt>
                <c:pt idx="36">
                  <c:v>4.1.–10.1.</c:v>
                </c:pt>
                <c:pt idx="37">
                  <c:v>11.1.–17.1.</c:v>
                </c:pt>
                <c:pt idx="38">
                  <c:v>18.1.–24.1.</c:v>
                </c:pt>
                <c:pt idx="39">
                  <c:v>25.1.–31.1.</c:v>
                </c:pt>
                <c:pt idx="40">
                  <c:v>1.2.–7.2.</c:v>
                </c:pt>
                <c:pt idx="41">
                  <c:v>8.2.–14.2.</c:v>
                </c:pt>
                <c:pt idx="42">
                  <c:v>15.2.–21.2.</c:v>
                </c:pt>
                <c:pt idx="43">
                  <c:v>22.2.–28.2.</c:v>
                </c:pt>
                <c:pt idx="44">
                  <c:v>1.3.–7.3.</c:v>
                </c:pt>
                <c:pt idx="45">
                  <c:v>8.3.–14.3.</c:v>
                </c:pt>
                <c:pt idx="46">
                  <c:v>15.3.–21.3.</c:v>
                </c:pt>
                <c:pt idx="47">
                  <c:v>22.3.–28.3.</c:v>
                </c:pt>
                <c:pt idx="48">
                  <c:v>29.3.–4.4.</c:v>
                </c:pt>
                <c:pt idx="49">
                  <c:v>5.4.–11.4.</c:v>
                </c:pt>
                <c:pt idx="50">
                  <c:v>12.4.–18.4.</c:v>
                </c:pt>
                <c:pt idx="51">
                  <c:v>19.4.–25.4.</c:v>
                </c:pt>
                <c:pt idx="52">
                  <c:v>26.4.–2.5.</c:v>
                </c:pt>
                <c:pt idx="53">
                  <c:v>3.5.–9.5.</c:v>
                </c:pt>
                <c:pt idx="54">
                  <c:v>10.5.–16.5.</c:v>
                </c:pt>
                <c:pt idx="55">
                  <c:v>17.5.–23.5.</c:v>
                </c:pt>
                <c:pt idx="56">
                  <c:v>24.5.–30.5.</c:v>
                </c:pt>
                <c:pt idx="57">
                  <c:v>31.5.–6.6.</c:v>
                </c:pt>
                <c:pt idx="58">
                  <c:v>7.6.–13.6.</c:v>
                </c:pt>
                <c:pt idx="59">
                  <c:v>14.6.–20.6.</c:v>
                </c:pt>
                <c:pt idx="60">
                  <c:v>21.6.–27.6.</c:v>
                </c:pt>
                <c:pt idx="61">
                  <c:v>28.6.–4.7.</c:v>
                </c:pt>
                <c:pt idx="62">
                  <c:v>5.7.–11.7.</c:v>
                </c:pt>
                <c:pt idx="63">
                  <c:v>12.7.–18.7.</c:v>
                </c:pt>
                <c:pt idx="64">
                  <c:v>19.7.–25.7.</c:v>
                </c:pt>
                <c:pt idx="65">
                  <c:v>26.7.–1.8.</c:v>
                </c:pt>
                <c:pt idx="66">
                  <c:v>2.8.–8.8.</c:v>
                </c:pt>
                <c:pt idx="67">
                  <c:v>9.8.–15.8.</c:v>
                </c:pt>
                <c:pt idx="68">
                  <c:v>16.8.–22.8.</c:v>
                </c:pt>
                <c:pt idx="69">
                  <c:v>23.8.–29.8.</c:v>
                </c:pt>
                <c:pt idx="70">
                  <c:v>30.8.–5.9.</c:v>
                </c:pt>
                <c:pt idx="71">
                  <c:v>6.9.–12.9.</c:v>
                </c:pt>
                <c:pt idx="72">
                  <c:v>13.9.–19.9.</c:v>
                </c:pt>
                <c:pt idx="73">
                  <c:v>20.9.–26.9.</c:v>
                </c:pt>
                <c:pt idx="74">
                  <c:v>27.9.–3.10.</c:v>
                </c:pt>
                <c:pt idx="75">
                  <c:v>4.10.–10.10.</c:v>
                </c:pt>
                <c:pt idx="76">
                  <c:v>11.10.–17.10.</c:v>
                </c:pt>
                <c:pt idx="77">
                  <c:v>18.10.–24.10.</c:v>
                </c:pt>
                <c:pt idx="78">
                  <c:v>25.10.–31.10.</c:v>
                </c:pt>
                <c:pt idx="79">
                  <c:v>1.11.–7.11.</c:v>
                </c:pt>
                <c:pt idx="80">
                  <c:v>8.11.–14.11.</c:v>
                </c:pt>
                <c:pt idx="81">
                  <c:v>15.11.–21.11.</c:v>
                </c:pt>
                <c:pt idx="82">
                  <c:v>22.11.–28.11.</c:v>
                </c:pt>
                <c:pt idx="83">
                  <c:v>29.11.–5.12.</c:v>
                </c:pt>
                <c:pt idx="84">
                  <c:v>6.12.–12.12.</c:v>
                </c:pt>
                <c:pt idx="85">
                  <c:v>13.12.–19.12.</c:v>
                </c:pt>
                <c:pt idx="86">
                  <c:v>20.12.–26.12.</c:v>
                </c:pt>
                <c:pt idx="87">
                  <c:v>27.12.–2.1.</c:v>
                </c:pt>
                <c:pt idx="88">
                  <c:v>3.1.–9.1.</c:v>
                </c:pt>
                <c:pt idx="89">
                  <c:v>10.1.–16.1.</c:v>
                </c:pt>
              </c:strCache>
            </c:strRef>
          </c:cat>
          <c:val>
            <c:numRef>
              <c:f>List1!$B$2:$CM$2</c:f>
              <c:numCache>
                <c:formatCode>General</c:formatCode>
                <c:ptCount val="90"/>
                <c:pt idx="0">
                  <c:v>0</c:v>
                </c:pt>
                <c:pt idx="1">
                  <c:v>0</c:v>
                </c:pt>
                <c:pt idx="2">
                  <c:v>90</c:v>
                </c:pt>
                <c:pt idx="3">
                  <c:v>20</c:v>
                </c:pt>
                <c:pt idx="4">
                  <c:v>0</c:v>
                </c:pt>
                <c:pt idx="5">
                  <c:v>35</c:v>
                </c:pt>
                <c:pt idx="6">
                  <c:v>0</c:v>
                </c:pt>
                <c:pt idx="7">
                  <c:v>45</c:v>
                </c:pt>
                <c:pt idx="8">
                  <c:v>2</c:v>
                </c:pt>
                <c:pt idx="9">
                  <c:v>2</c:v>
                </c:pt>
                <c:pt idx="10">
                  <c:v>1</c:v>
                </c:pt>
                <c:pt idx="11">
                  <c:v>0</c:v>
                </c:pt>
                <c:pt idx="12">
                  <c:v>110</c:v>
                </c:pt>
                <c:pt idx="13">
                  <c:v>1</c:v>
                </c:pt>
                <c:pt idx="14">
                  <c:v>86</c:v>
                </c:pt>
                <c:pt idx="15">
                  <c:v>40</c:v>
                </c:pt>
                <c:pt idx="16">
                  <c:v>44</c:v>
                </c:pt>
                <c:pt idx="17">
                  <c:v>1</c:v>
                </c:pt>
                <c:pt idx="18">
                  <c:v>196</c:v>
                </c:pt>
                <c:pt idx="19">
                  <c:v>138</c:v>
                </c:pt>
                <c:pt idx="20">
                  <c:v>100</c:v>
                </c:pt>
                <c:pt idx="21">
                  <c:v>627</c:v>
                </c:pt>
                <c:pt idx="22">
                  <c:v>290</c:v>
                </c:pt>
                <c:pt idx="23">
                  <c:v>1325</c:v>
                </c:pt>
                <c:pt idx="24">
                  <c:v>3258</c:v>
                </c:pt>
                <c:pt idx="25">
                  <c:v>2610</c:v>
                </c:pt>
                <c:pt idx="26">
                  <c:v>2702</c:v>
                </c:pt>
                <c:pt idx="27">
                  <c:v>2109</c:v>
                </c:pt>
                <c:pt idx="28">
                  <c:v>3034</c:v>
                </c:pt>
                <c:pt idx="29">
                  <c:v>2017</c:v>
                </c:pt>
                <c:pt idx="30">
                  <c:v>788</c:v>
                </c:pt>
                <c:pt idx="31">
                  <c:v>772</c:v>
                </c:pt>
                <c:pt idx="32">
                  <c:v>1444</c:v>
                </c:pt>
                <c:pt idx="33">
                  <c:v>992</c:v>
                </c:pt>
                <c:pt idx="34">
                  <c:v>582</c:v>
                </c:pt>
                <c:pt idx="35">
                  <c:v>943</c:v>
                </c:pt>
                <c:pt idx="36">
                  <c:v>1069</c:v>
                </c:pt>
                <c:pt idx="37">
                  <c:v>910</c:v>
                </c:pt>
                <c:pt idx="38">
                  <c:v>885</c:v>
                </c:pt>
                <c:pt idx="39">
                  <c:v>409</c:v>
                </c:pt>
                <c:pt idx="40">
                  <c:v>650</c:v>
                </c:pt>
                <c:pt idx="41">
                  <c:v>590</c:v>
                </c:pt>
                <c:pt idx="42">
                  <c:v>204</c:v>
                </c:pt>
                <c:pt idx="43">
                  <c:v>356</c:v>
                </c:pt>
                <c:pt idx="44">
                  <c:v>143</c:v>
                </c:pt>
                <c:pt idx="45">
                  <c:v>223</c:v>
                </c:pt>
                <c:pt idx="46">
                  <c:v>295</c:v>
                </c:pt>
                <c:pt idx="47">
                  <c:v>192</c:v>
                </c:pt>
                <c:pt idx="48">
                  <c:v>115</c:v>
                </c:pt>
                <c:pt idx="49">
                  <c:v>72</c:v>
                </c:pt>
                <c:pt idx="50">
                  <c:v>32</c:v>
                </c:pt>
                <c:pt idx="51">
                  <c:v>16</c:v>
                </c:pt>
                <c:pt idx="52">
                  <c:v>15</c:v>
                </c:pt>
                <c:pt idx="53">
                  <c:v>0</c:v>
                </c:pt>
                <c:pt idx="54">
                  <c:v>14</c:v>
                </c:pt>
                <c:pt idx="55">
                  <c:v>9</c:v>
                </c:pt>
                <c:pt idx="56">
                  <c:v>0</c:v>
                </c:pt>
                <c:pt idx="57">
                  <c:v>3</c:v>
                </c:pt>
                <c:pt idx="58">
                  <c:v>4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3</c:v>
                </c:pt>
                <c:pt idx="64">
                  <c:v>5</c:v>
                </c:pt>
                <c:pt idx="65">
                  <c:v>0</c:v>
                </c:pt>
                <c:pt idx="66">
                  <c:v>0</c:v>
                </c:pt>
                <c:pt idx="67">
                  <c:v>0</c:v>
                </c:pt>
                <c:pt idx="68">
                  <c:v>10</c:v>
                </c:pt>
                <c:pt idx="69">
                  <c:v>0</c:v>
                </c:pt>
                <c:pt idx="70">
                  <c:v>28</c:v>
                </c:pt>
                <c:pt idx="71">
                  <c:v>0</c:v>
                </c:pt>
                <c:pt idx="72">
                  <c:v>6</c:v>
                </c:pt>
                <c:pt idx="73">
                  <c:v>14</c:v>
                </c:pt>
                <c:pt idx="74">
                  <c:v>46</c:v>
                </c:pt>
                <c:pt idx="75">
                  <c:v>30</c:v>
                </c:pt>
                <c:pt idx="76">
                  <c:v>58</c:v>
                </c:pt>
                <c:pt idx="77">
                  <c:v>28</c:v>
                </c:pt>
                <c:pt idx="78">
                  <c:v>65</c:v>
                </c:pt>
                <c:pt idx="79">
                  <c:v>313</c:v>
                </c:pt>
                <c:pt idx="80">
                  <c:v>90</c:v>
                </c:pt>
                <c:pt idx="81">
                  <c:v>107</c:v>
                </c:pt>
                <c:pt idx="82">
                  <c:v>119</c:v>
                </c:pt>
                <c:pt idx="83">
                  <c:v>104</c:v>
                </c:pt>
                <c:pt idx="84">
                  <c:v>171</c:v>
                </c:pt>
                <c:pt idx="85">
                  <c:v>106</c:v>
                </c:pt>
                <c:pt idx="86">
                  <c:v>70</c:v>
                </c:pt>
                <c:pt idx="87">
                  <c:v>154</c:v>
                </c:pt>
                <c:pt idx="88">
                  <c:v>46</c:v>
                </c:pt>
                <c:pt idx="89">
                  <c:v>1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3600000" spcFirstLastPara="1" vertOverflow="ellipsis" wrap="square" anchor="ctr" anchorCtr="1"/>
          <a:lstStyle/>
          <a:p>
            <a:pPr>
              <a:defRPr sz="11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cs-CZ" dirty="0"/>
              <a:t>Pracovníci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List1!$B$1</c:f>
              <c:strCache>
                <c:ptCount val="1"/>
                <c:pt idx="0">
                  <c:v>Sloupec1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76A8-4DEA-901C-9B274B605125}"/>
              </c:ext>
            </c:extLst>
          </c:dPt>
          <c:dPt>
            <c:idx val="1"/>
            <c:bubble3D val="0"/>
            <c:spPr>
              <a:solidFill>
                <a:srgbClr val="383D3D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76A8-4DEA-901C-9B274B605125}"/>
              </c:ext>
            </c:extLst>
          </c:dPt>
          <c:dLbls>
            <c:dLbl>
              <c:idx val="0"/>
              <c:layout>
                <c:manualLayout>
                  <c:x val="-0.17591183084346251"/>
                  <c:y val="-0.27178173150824075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bg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424931181756074"/>
                      <c:h val="0.20662042201543307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76A8-4DEA-901C-9B274B605125}"/>
                </c:ext>
              </c:extLst>
            </c:dLbl>
            <c:dLbl>
              <c:idx val="1"/>
              <c:layout>
                <c:manualLayout>
                  <c:x val="2.3175630939048023E-2"/>
                  <c:y val="4.783564882755495E-2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9718979566560638"/>
                      <c:h val="0.20662042201543307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76A8-4DEA-901C-9B274B60512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List1!$A$2:$A$3</c:f>
              <c:strCache>
                <c:ptCount val="2"/>
                <c:pt idx="0">
                  <c:v>Celkový počet</c:v>
                </c:pt>
                <c:pt idx="1">
                  <c:v>Pozitivních</c:v>
                </c:pt>
              </c:strCache>
            </c:strRef>
          </c:cat>
          <c:val>
            <c:numRef>
              <c:f>List1!$B$2:$B$3</c:f>
              <c:numCache>
                <c:formatCode>0.0%</c:formatCode>
                <c:ptCount val="2"/>
                <c:pt idx="0">
                  <c:v>0.999</c:v>
                </c:pt>
                <c:pt idx="1">
                  <c:v>1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76A8-4DEA-901C-9B274B605125}"/>
            </c:ext>
          </c:extLst>
        </c:ser>
        <c:dLbls>
          <c:dLblPos val="bestFit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cs-CZ" dirty="0"/>
              <a:t>Klienti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List1!$B$1</c:f>
              <c:strCache>
                <c:ptCount val="1"/>
                <c:pt idx="0">
                  <c:v>Sloupec1</c:v>
                </c:pt>
              </c:strCache>
            </c:strRef>
          </c:tx>
          <c:spPr>
            <a:solidFill>
              <a:srgbClr val="D31145"/>
            </a:solidFill>
          </c:spPr>
          <c:dPt>
            <c:idx val="0"/>
            <c:bubble3D val="0"/>
            <c:spPr>
              <a:solidFill>
                <a:srgbClr val="D3114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FF92-4D3D-8334-193589D5135D}"/>
              </c:ext>
            </c:extLst>
          </c:dPt>
          <c:dPt>
            <c:idx val="1"/>
            <c:bubble3D val="0"/>
            <c:spPr>
              <a:solidFill>
                <a:srgbClr val="383D3D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FF92-4D3D-8334-193589D5135D}"/>
              </c:ext>
            </c:extLst>
          </c:dPt>
          <c:dLbls>
            <c:dLbl>
              <c:idx val="0"/>
              <c:layout>
                <c:manualLayout>
                  <c:x val="-0.32618392207200703"/>
                  <c:y val="-0.2544446438943123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bg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424931181756074"/>
                      <c:h val="0.20662042201543307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FF92-4D3D-8334-193589D5135D}"/>
                </c:ext>
              </c:extLst>
            </c:dLbl>
            <c:dLbl>
              <c:idx val="1"/>
              <c:layout>
                <c:manualLayout>
                  <c:x val="2.6849345794777161E-2"/>
                  <c:y val="4.3164616463420992E-2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9718979566560638"/>
                      <c:h val="0.20662042201543307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FF92-4D3D-8334-193589D5135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List1!$A$2:$A$3</c:f>
              <c:strCache>
                <c:ptCount val="2"/>
                <c:pt idx="0">
                  <c:v>Celkový počet</c:v>
                </c:pt>
                <c:pt idx="1">
                  <c:v>Pozitivních</c:v>
                </c:pt>
              </c:strCache>
            </c:strRef>
          </c:cat>
          <c:val>
            <c:numRef>
              <c:f>List1!$B$2:$B$3</c:f>
              <c:numCache>
                <c:formatCode>0.0%</c:formatCode>
                <c:ptCount val="2"/>
                <c:pt idx="0">
                  <c:v>0.86</c:v>
                </c:pt>
                <c:pt idx="1">
                  <c:v>0.1400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FF92-4D3D-8334-193589D5135D}"/>
            </c:ext>
          </c:extLst>
        </c:ser>
        <c:dLbls>
          <c:dLblPos val="bestFit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cs-CZ" dirty="0"/>
              <a:t>Celkem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List1!$B$1</c:f>
              <c:strCache>
                <c:ptCount val="1"/>
                <c:pt idx="0">
                  <c:v>Sloupec1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9C89-4EC5-9106-44D5B8B3D789}"/>
              </c:ext>
            </c:extLst>
          </c:dPt>
          <c:dPt>
            <c:idx val="1"/>
            <c:bubble3D val="0"/>
            <c:spPr>
              <a:solidFill>
                <a:srgbClr val="383D3D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9C89-4EC5-9106-44D5B8B3D789}"/>
              </c:ext>
            </c:extLst>
          </c:dPt>
          <c:dLbls>
            <c:dLbl>
              <c:idx val="0"/>
              <c:layout>
                <c:manualLayout>
                  <c:x val="-0.32618392207200703"/>
                  <c:y val="-0.2544446438943123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bg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424931181756074"/>
                      <c:h val="0.20662042201543307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9C89-4EC5-9106-44D5B8B3D789}"/>
                </c:ext>
              </c:extLst>
            </c:dLbl>
            <c:dLbl>
              <c:idx val="1"/>
              <c:layout>
                <c:manualLayout>
                  <c:x val="1.7357158033531071E-2"/>
                  <c:y val="4.5619126796800309E-2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9718979566560638"/>
                      <c:h val="0.20662042201543307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9C89-4EC5-9106-44D5B8B3D78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List1!$A$2:$A$3</c:f>
              <c:strCache>
                <c:ptCount val="2"/>
                <c:pt idx="0">
                  <c:v>Celkový počet</c:v>
                </c:pt>
                <c:pt idx="1">
                  <c:v>Pozitivních</c:v>
                </c:pt>
              </c:strCache>
            </c:strRef>
          </c:cat>
          <c:val>
            <c:numRef>
              <c:f>List1!$B$2:$B$3</c:f>
              <c:numCache>
                <c:formatCode>0.0%</c:formatCode>
                <c:ptCount val="2"/>
                <c:pt idx="0">
                  <c:v>0.91800000000000004</c:v>
                </c:pt>
                <c:pt idx="1">
                  <c:v>8.2000000000000003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9C89-4EC5-9106-44D5B8B3D789}"/>
            </c:ext>
          </c:extLst>
        </c:ser>
        <c:dLbls>
          <c:dLblPos val="bestFit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cs-CZ" dirty="0"/>
              <a:t>Kumulativní počet pozitivních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Klienti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List1!$A$2:$A$502</c:f>
              <c:numCache>
                <c:formatCode>m/d/yyyy</c:formatCode>
                <c:ptCount val="501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</c:numCache>
            </c:numRef>
          </c:cat>
          <c:val>
            <c:numRef>
              <c:f>List1!$B$2:$B$502</c:f>
              <c:numCache>
                <c:formatCode>General</c:formatCode>
                <c:ptCount val="501"/>
                <c:pt idx="0">
                  <c:v>6</c:v>
                </c:pt>
                <c:pt idx="1">
                  <c:v>6</c:v>
                </c:pt>
                <c:pt idx="2">
                  <c:v>6</c:v>
                </c:pt>
                <c:pt idx="3">
                  <c:v>6</c:v>
                </c:pt>
                <c:pt idx="4">
                  <c:v>6</c:v>
                </c:pt>
                <c:pt idx="5">
                  <c:v>6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8</c:v>
                </c:pt>
                <c:pt idx="10">
                  <c:v>8</c:v>
                </c:pt>
                <c:pt idx="11">
                  <c:v>11</c:v>
                </c:pt>
                <c:pt idx="12">
                  <c:v>12</c:v>
                </c:pt>
                <c:pt idx="13">
                  <c:v>12</c:v>
                </c:pt>
                <c:pt idx="14">
                  <c:v>12</c:v>
                </c:pt>
                <c:pt idx="15">
                  <c:v>12</c:v>
                </c:pt>
                <c:pt idx="16">
                  <c:v>12</c:v>
                </c:pt>
                <c:pt idx="17">
                  <c:v>14</c:v>
                </c:pt>
                <c:pt idx="18">
                  <c:v>15</c:v>
                </c:pt>
                <c:pt idx="19">
                  <c:v>18</c:v>
                </c:pt>
                <c:pt idx="20">
                  <c:v>19</c:v>
                </c:pt>
                <c:pt idx="21">
                  <c:v>19</c:v>
                </c:pt>
                <c:pt idx="22">
                  <c:v>20</c:v>
                </c:pt>
                <c:pt idx="23">
                  <c:v>23</c:v>
                </c:pt>
                <c:pt idx="24">
                  <c:v>24</c:v>
                </c:pt>
                <c:pt idx="25">
                  <c:v>29</c:v>
                </c:pt>
                <c:pt idx="26">
                  <c:v>34</c:v>
                </c:pt>
                <c:pt idx="27">
                  <c:v>37</c:v>
                </c:pt>
                <c:pt idx="28">
                  <c:v>42</c:v>
                </c:pt>
                <c:pt idx="29">
                  <c:v>70</c:v>
                </c:pt>
                <c:pt idx="30">
                  <c:v>101</c:v>
                </c:pt>
                <c:pt idx="31">
                  <c:v>163</c:v>
                </c:pt>
                <c:pt idx="32">
                  <c:v>199</c:v>
                </c:pt>
                <c:pt idx="33">
                  <c:v>253</c:v>
                </c:pt>
                <c:pt idx="34">
                  <c:v>420</c:v>
                </c:pt>
                <c:pt idx="35">
                  <c:v>502</c:v>
                </c:pt>
                <c:pt idx="36">
                  <c:v>547</c:v>
                </c:pt>
                <c:pt idx="37">
                  <c:v>625</c:v>
                </c:pt>
                <c:pt idx="38">
                  <c:v>764</c:v>
                </c:pt>
                <c:pt idx="39">
                  <c:v>794</c:v>
                </c:pt>
                <c:pt idx="40">
                  <c:v>805</c:v>
                </c:pt>
                <c:pt idx="41">
                  <c:v>943</c:v>
                </c:pt>
                <c:pt idx="42">
                  <c:v>1166</c:v>
                </c:pt>
                <c:pt idx="43">
                  <c:v>1347</c:v>
                </c:pt>
                <c:pt idx="44">
                  <c:v>1542</c:v>
                </c:pt>
                <c:pt idx="45">
                  <c:v>1747</c:v>
                </c:pt>
                <c:pt idx="46">
                  <c:v>1902</c:v>
                </c:pt>
                <c:pt idx="47">
                  <c:v>1943</c:v>
                </c:pt>
                <c:pt idx="48">
                  <c:v>2185</c:v>
                </c:pt>
                <c:pt idx="49">
                  <c:v>2385</c:v>
                </c:pt>
                <c:pt idx="50">
                  <c:v>2711</c:v>
                </c:pt>
                <c:pt idx="51">
                  <c:v>2939</c:v>
                </c:pt>
                <c:pt idx="52">
                  <c:v>3355</c:v>
                </c:pt>
                <c:pt idx="53">
                  <c:v>3582</c:v>
                </c:pt>
                <c:pt idx="54">
                  <c:v>3777</c:v>
                </c:pt>
                <c:pt idx="55">
                  <c:v>4164</c:v>
                </c:pt>
                <c:pt idx="56">
                  <c:v>4687</c:v>
                </c:pt>
                <c:pt idx="57">
                  <c:v>4947</c:v>
                </c:pt>
                <c:pt idx="58">
                  <c:v>5485</c:v>
                </c:pt>
                <c:pt idx="59">
                  <c:v>6072</c:v>
                </c:pt>
                <c:pt idx="60">
                  <c:v>6409</c:v>
                </c:pt>
                <c:pt idx="61">
                  <c:v>6621</c:v>
                </c:pt>
                <c:pt idx="62">
                  <c:v>6953</c:v>
                </c:pt>
                <c:pt idx="63">
                  <c:v>7285</c:v>
                </c:pt>
                <c:pt idx="64">
                  <c:v>7709</c:v>
                </c:pt>
                <c:pt idx="65">
                  <c:v>8243</c:v>
                </c:pt>
                <c:pt idx="66">
                  <c:v>8731</c:v>
                </c:pt>
                <c:pt idx="67">
                  <c:v>8945</c:v>
                </c:pt>
                <c:pt idx="68">
                  <c:v>9023</c:v>
                </c:pt>
                <c:pt idx="69">
                  <c:v>9227</c:v>
                </c:pt>
                <c:pt idx="70">
                  <c:v>9612</c:v>
                </c:pt>
                <c:pt idx="71">
                  <c:v>10289</c:v>
                </c:pt>
                <c:pt idx="72">
                  <c:v>10787</c:v>
                </c:pt>
                <c:pt idx="73">
                  <c:v>11268</c:v>
                </c:pt>
                <c:pt idx="74">
                  <c:v>11448</c:v>
                </c:pt>
                <c:pt idx="75">
                  <c:v>11613</c:v>
                </c:pt>
                <c:pt idx="76">
                  <c:v>11996</c:v>
                </c:pt>
                <c:pt idx="77">
                  <c:v>12134</c:v>
                </c:pt>
                <c:pt idx="78">
                  <c:v>12400</c:v>
                </c:pt>
                <c:pt idx="79">
                  <c:v>12669</c:v>
                </c:pt>
                <c:pt idx="80">
                  <c:v>12909</c:v>
                </c:pt>
                <c:pt idx="81">
                  <c:v>13003</c:v>
                </c:pt>
                <c:pt idx="82">
                  <c:v>13094</c:v>
                </c:pt>
                <c:pt idx="83">
                  <c:v>13472</c:v>
                </c:pt>
                <c:pt idx="84">
                  <c:v>13670</c:v>
                </c:pt>
                <c:pt idx="85">
                  <c:v>13795</c:v>
                </c:pt>
                <c:pt idx="86">
                  <c:v>13989</c:v>
                </c:pt>
                <c:pt idx="87">
                  <c:v>14128</c:v>
                </c:pt>
                <c:pt idx="88">
                  <c:v>14206</c:v>
                </c:pt>
                <c:pt idx="89">
                  <c:v>14234</c:v>
                </c:pt>
                <c:pt idx="90">
                  <c:v>14447</c:v>
                </c:pt>
                <c:pt idx="91">
                  <c:v>14571</c:v>
                </c:pt>
                <c:pt idx="92">
                  <c:v>14703</c:v>
                </c:pt>
                <c:pt idx="93">
                  <c:v>14831</c:v>
                </c:pt>
                <c:pt idx="94">
                  <c:v>14973</c:v>
                </c:pt>
                <c:pt idx="95">
                  <c:v>15061</c:v>
                </c:pt>
                <c:pt idx="96">
                  <c:v>15081</c:v>
                </c:pt>
                <c:pt idx="97">
                  <c:v>15223</c:v>
                </c:pt>
                <c:pt idx="98">
                  <c:v>15312</c:v>
                </c:pt>
                <c:pt idx="99">
                  <c:v>15453</c:v>
                </c:pt>
                <c:pt idx="100">
                  <c:v>15536</c:v>
                </c:pt>
                <c:pt idx="101">
                  <c:v>15766</c:v>
                </c:pt>
                <c:pt idx="102">
                  <c:v>15833</c:v>
                </c:pt>
                <c:pt idx="103">
                  <c:v>15882</c:v>
                </c:pt>
                <c:pt idx="104">
                  <c:v>16030</c:v>
                </c:pt>
                <c:pt idx="105">
                  <c:v>16163</c:v>
                </c:pt>
                <c:pt idx="106">
                  <c:v>16263</c:v>
                </c:pt>
                <c:pt idx="107">
                  <c:v>16331</c:v>
                </c:pt>
                <c:pt idx="108">
                  <c:v>16553</c:v>
                </c:pt>
                <c:pt idx="109">
                  <c:v>16614</c:v>
                </c:pt>
                <c:pt idx="110">
                  <c:v>16635</c:v>
                </c:pt>
                <c:pt idx="111">
                  <c:v>16813</c:v>
                </c:pt>
                <c:pt idx="112">
                  <c:v>16989</c:v>
                </c:pt>
                <c:pt idx="113">
                  <c:v>17111</c:v>
                </c:pt>
                <c:pt idx="114">
                  <c:v>17129</c:v>
                </c:pt>
                <c:pt idx="115">
                  <c:v>17200</c:v>
                </c:pt>
                <c:pt idx="116">
                  <c:v>17278</c:v>
                </c:pt>
                <c:pt idx="117">
                  <c:v>17376</c:v>
                </c:pt>
                <c:pt idx="118">
                  <c:v>17541</c:v>
                </c:pt>
                <c:pt idx="119">
                  <c:v>17726</c:v>
                </c:pt>
                <c:pt idx="120">
                  <c:v>17870</c:v>
                </c:pt>
                <c:pt idx="121">
                  <c:v>18003</c:v>
                </c:pt>
                <c:pt idx="122">
                  <c:v>18068</c:v>
                </c:pt>
                <c:pt idx="123">
                  <c:v>18127</c:v>
                </c:pt>
                <c:pt idx="124">
                  <c:v>18169</c:v>
                </c:pt>
                <c:pt idx="125">
                  <c:v>18438</c:v>
                </c:pt>
                <c:pt idx="126">
                  <c:v>18591</c:v>
                </c:pt>
                <c:pt idx="127">
                  <c:v>18751</c:v>
                </c:pt>
                <c:pt idx="128">
                  <c:v>18983</c:v>
                </c:pt>
                <c:pt idx="129">
                  <c:v>19168</c:v>
                </c:pt>
                <c:pt idx="130">
                  <c:v>19229</c:v>
                </c:pt>
                <c:pt idx="131">
                  <c:v>19260</c:v>
                </c:pt>
                <c:pt idx="132">
                  <c:v>19499</c:v>
                </c:pt>
                <c:pt idx="133">
                  <c:v>19625</c:v>
                </c:pt>
                <c:pt idx="134">
                  <c:v>19800</c:v>
                </c:pt>
                <c:pt idx="135">
                  <c:v>19897</c:v>
                </c:pt>
                <c:pt idx="136">
                  <c:v>19983</c:v>
                </c:pt>
                <c:pt idx="137">
                  <c:v>20018</c:v>
                </c:pt>
                <c:pt idx="138">
                  <c:v>20063</c:v>
                </c:pt>
                <c:pt idx="139">
                  <c:v>20224</c:v>
                </c:pt>
                <c:pt idx="140">
                  <c:v>20303</c:v>
                </c:pt>
                <c:pt idx="141">
                  <c:v>20450</c:v>
                </c:pt>
                <c:pt idx="142">
                  <c:v>20556</c:v>
                </c:pt>
                <c:pt idx="143">
                  <c:v>20670</c:v>
                </c:pt>
                <c:pt idx="144">
                  <c:v>20723</c:v>
                </c:pt>
                <c:pt idx="145">
                  <c:v>20748</c:v>
                </c:pt>
                <c:pt idx="146">
                  <c:v>20832</c:v>
                </c:pt>
                <c:pt idx="147">
                  <c:v>20873</c:v>
                </c:pt>
                <c:pt idx="148">
                  <c:v>20968</c:v>
                </c:pt>
                <c:pt idx="149">
                  <c:v>21035</c:v>
                </c:pt>
                <c:pt idx="150">
                  <c:v>21072</c:v>
                </c:pt>
                <c:pt idx="151">
                  <c:v>21121</c:v>
                </c:pt>
                <c:pt idx="152">
                  <c:v>21130</c:v>
                </c:pt>
                <c:pt idx="153">
                  <c:v>21236</c:v>
                </c:pt>
                <c:pt idx="154">
                  <c:v>21330</c:v>
                </c:pt>
                <c:pt idx="155">
                  <c:v>21432</c:v>
                </c:pt>
                <c:pt idx="156">
                  <c:v>21514</c:v>
                </c:pt>
                <c:pt idx="157">
                  <c:v>21598</c:v>
                </c:pt>
                <c:pt idx="158">
                  <c:v>21641</c:v>
                </c:pt>
                <c:pt idx="159">
                  <c:v>21657</c:v>
                </c:pt>
                <c:pt idx="160">
                  <c:v>21722</c:v>
                </c:pt>
                <c:pt idx="161">
                  <c:v>21788</c:v>
                </c:pt>
                <c:pt idx="162">
                  <c:v>21855</c:v>
                </c:pt>
                <c:pt idx="163">
                  <c:v>21920</c:v>
                </c:pt>
                <c:pt idx="164">
                  <c:v>21972</c:v>
                </c:pt>
                <c:pt idx="165">
                  <c:v>21980</c:v>
                </c:pt>
                <c:pt idx="166">
                  <c:v>21993</c:v>
                </c:pt>
                <c:pt idx="167">
                  <c:v>22030</c:v>
                </c:pt>
                <c:pt idx="168">
                  <c:v>22047</c:v>
                </c:pt>
                <c:pt idx="169">
                  <c:v>22077</c:v>
                </c:pt>
                <c:pt idx="170">
                  <c:v>22104</c:v>
                </c:pt>
                <c:pt idx="171">
                  <c:v>22131</c:v>
                </c:pt>
                <c:pt idx="172">
                  <c:v>22149</c:v>
                </c:pt>
                <c:pt idx="173">
                  <c:v>22154</c:v>
                </c:pt>
                <c:pt idx="174">
                  <c:v>22243</c:v>
                </c:pt>
                <c:pt idx="175">
                  <c:v>22279</c:v>
                </c:pt>
                <c:pt idx="176">
                  <c:v>22313</c:v>
                </c:pt>
                <c:pt idx="177">
                  <c:v>22359</c:v>
                </c:pt>
                <c:pt idx="178">
                  <c:v>22405</c:v>
                </c:pt>
                <c:pt idx="179">
                  <c:v>22414</c:v>
                </c:pt>
                <c:pt idx="180">
                  <c:v>22417</c:v>
                </c:pt>
                <c:pt idx="181">
                  <c:v>22495</c:v>
                </c:pt>
                <c:pt idx="182">
                  <c:v>22523</c:v>
                </c:pt>
                <c:pt idx="183">
                  <c:v>22569</c:v>
                </c:pt>
                <c:pt idx="184">
                  <c:v>22579</c:v>
                </c:pt>
                <c:pt idx="185">
                  <c:v>22602</c:v>
                </c:pt>
                <c:pt idx="186">
                  <c:v>22607</c:v>
                </c:pt>
                <c:pt idx="187">
                  <c:v>22612</c:v>
                </c:pt>
                <c:pt idx="188">
                  <c:v>22639</c:v>
                </c:pt>
                <c:pt idx="189">
                  <c:v>22718</c:v>
                </c:pt>
                <c:pt idx="190">
                  <c:v>22773</c:v>
                </c:pt>
                <c:pt idx="191">
                  <c:v>22785</c:v>
                </c:pt>
                <c:pt idx="192">
                  <c:v>22810</c:v>
                </c:pt>
                <c:pt idx="193">
                  <c:v>22819</c:v>
                </c:pt>
                <c:pt idx="194">
                  <c:v>22825</c:v>
                </c:pt>
                <c:pt idx="195">
                  <c:v>22855</c:v>
                </c:pt>
                <c:pt idx="196">
                  <c:v>22875</c:v>
                </c:pt>
                <c:pt idx="197">
                  <c:v>22882</c:v>
                </c:pt>
                <c:pt idx="198">
                  <c:v>22919</c:v>
                </c:pt>
                <c:pt idx="199">
                  <c:v>22937</c:v>
                </c:pt>
                <c:pt idx="200">
                  <c:v>22946</c:v>
                </c:pt>
                <c:pt idx="201">
                  <c:v>22950</c:v>
                </c:pt>
                <c:pt idx="202">
                  <c:v>22963</c:v>
                </c:pt>
                <c:pt idx="203">
                  <c:v>22993</c:v>
                </c:pt>
                <c:pt idx="204">
                  <c:v>23013</c:v>
                </c:pt>
                <c:pt idx="205">
                  <c:v>23044</c:v>
                </c:pt>
                <c:pt idx="206">
                  <c:v>23050</c:v>
                </c:pt>
                <c:pt idx="207">
                  <c:v>23053</c:v>
                </c:pt>
                <c:pt idx="208">
                  <c:v>23057</c:v>
                </c:pt>
                <c:pt idx="209">
                  <c:v>23078</c:v>
                </c:pt>
                <c:pt idx="210">
                  <c:v>23089</c:v>
                </c:pt>
                <c:pt idx="211">
                  <c:v>23098</c:v>
                </c:pt>
                <c:pt idx="212">
                  <c:v>23107</c:v>
                </c:pt>
                <c:pt idx="213">
                  <c:v>23110</c:v>
                </c:pt>
                <c:pt idx="214">
                  <c:v>23113</c:v>
                </c:pt>
                <c:pt idx="215">
                  <c:v>23115</c:v>
                </c:pt>
                <c:pt idx="216">
                  <c:v>23116</c:v>
                </c:pt>
                <c:pt idx="217">
                  <c:v>23121</c:v>
                </c:pt>
                <c:pt idx="218">
                  <c:v>23139</c:v>
                </c:pt>
                <c:pt idx="219">
                  <c:v>23140</c:v>
                </c:pt>
                <c:pt idx="220">
                  <c:v>23143</c:v>
                </c:pt>
                <c:pt idx="221">
                  <c:v>23144</c:v>
                </c:pt>
                <c:pt idx="222">
                  <c:v>23144</c:v>
                </c:pt>
                <c:pt idx="223">
                  <c:v>23145</c:v>
                </c:pt>
                <c:pt idx="224">
                  <c:v>23147</c:v>
                </c:pt>
                <c:pt idx="225">
                  <c:v>23148</c:v>
                </c:pt>
                <c:pt idx="226">
                  <c:v>23151</c:v>
                </c:pt>
                <c:pt idx="227">
                  <c:v>23152</c:v>
                </c:pt>
                <c:pt idx="228">
                  <c:v>23153</c:v>
                </c:pt>
                <c:pt idx="229">
                  <c:v>23154</c:v>
                </c:pt>
                <c:pt idx="230">
                  <c:v>23159</c:v>
                </c:pt>
                <c:pt idx="231">
                  <c:v>23163</c:v>
                </c:pt>
                <c:pt idx="232">
                  <c:v>23166</c:v>
                </c:pt>
                <c:pt idx="233">
                  <c:v>23175</c:v>
                </c:pt>
                <c:pt idx="234">
                  <c:v>23179</c:v>
                </c:pt>
                <c:pt idx="235">
                  <c:v>23180</c:v>
                </c:pt>
                <c:pt idx="236">
                  <c:v>23180</c:v>
                </c:pt>
                <c:pt idx="237">
                  <c:v>23181</c:v>
                </c:pt>
                <c:pt idx="238">
                  <c:v>23184</c:v>
                </c:pt>
                <c:pt idx="239">
                  <c:v>23185</c:v>
                </c:pt>
                <c:pt idx="240">
                  <c:v>23187</c:v>
                </c:pt>
                <c:pt idx="241">
                  <c:v>23188</c:v>
                </c:pt>
                <c:pt idx="242">
                  <c:v>23188</c:v>
                </c:pt>
                <c:pt idx="243">
                  <c:v>23188</c:v>
                </c:pt>
                <c:pt idx="244">
                  <c:v>23188</c:v>
                </c:pt>
                <c:pt idx="245">
                  <c:v>23188</c:v>
                </c:pt>
                <c:pt idx="246">
                  <c:v>23190</c:v>
                </c:pt>
                <c:pt idx="247">
                  <c:v>23190</c:v>
                </c:pt>
                <c:pt idx="248">
                  <c:v>23191</c:v>
                </c:pt>
                <c:pt idx="249">
                  <c:v>23191</c:v>
                </c:pt>
                <c:pt idx="250">
                  <c:v>23194</c:v>
                </c:pt>
                <c:pt idx="251">
                  <c:v>23199</c:v>
                </c:pt>
                <c:pt idx="252">
                  <c:v>23201</c:v>
                </c:pt>
                <c:pt idx="253">
                  <c:v>23201</c:v>
                </c:pt>
                <c:pt idx="254">
                  <c:v>23203</c:v>
                </c:pt>
                <c:pt idx="255">
                  <c:v>23206</c:v>
                </c:pt>
                <c:pt idx="256">
                  <c:v>23207</c:v>
                </c:pt>
                <c:pt idx="257">
                  <c:v>23207</c:v>
                </c:pt>
                <c:pt idx="258">
                  <c:v>23210</c:v>
                </c:pt>
                <c:pt idx="259">
                  <c:v>23210</c:v>
                </c:pt>
                <c:pt idx="260">
                  <c:v>23212</c:v>
                </c:pt>
                <c:pt idx="261">
                  <c:v>23212</c:v>
                </c:pt>
                <c:pt idx="262">
                  <c:v>23212</c:v>
                </c:pt>
                <c:pt idx="263">
                  <c:v>23212</c:v>
                </c:pt>
                <c:pt idx="264">
                  <c:v>23212</c:v>
                </c:pt>
                <c:pt idx="265">
                  <c:v>23214</c:v>
                </c:pt>
                <c:pt idx="266">
                  <c:v>23214</c:v>
                </c:pt>
                <c:pt idx="267">
                  <c:v>23214</c:v>
                </c:pt>
                <c:pt idx="268">
                  <c:v>23214</c:v>
                </c:pt>
                <c:pt idx="269">
                  <c:v>23214</c:v>
                </c:pt>
                <c:pt idx="270">
                  <c:v>23214</c:v>
                </c:pt>
                <c:pt idx="271">
                  <c:v>23214</c:v>
                </c:pt>
                <c:pt idx="272">
                  <c:v>23214</c:v>
                </c:pt>
                <c:pt idx="273">
                  <c:v>23214</c:v>
                </c:pt>
                <c:pt idx="274">
                  <c:v>23217</c:v>
                </c:pt>
                <c:pt idx="275">
                  <c:v>23218</c:v>
                </c:pt>
                <c:pt idx="276">
                  <c:v>23218</c:v>
                </c:pt>
                <c:pt idx="277">
                  <c:v>23218</c:v>
                </c:pt>
                <c:pt idx="278">
                  <c:v>23218</c:v>
                </c:pt>
                <c:pt idx="279">
                  <c:v>23218</c:v>
                </c:pt>
                <c:pt idx="280">
                  <c:v>23218</c:v>
                </c:pt>
                <c:pt idx="281">
                  <c:v>23218</c:v>
                </c:pt>
                <c:pt idx="282">
                  <c:v>23218</c:v>
                </c:pt>
                <c:pt idx="283">
                  <c:v>23219</c:v>
                </c:pt>
                <c:pt idx="284">
                  <c:v>23219</c:v>
                </c:pt>
                <c:pt idx="285">
                  <c:v>23219</c:v>
                </c:pt>
                <c:pt idx="286">
                  <c:v>23219</c:v>
                </c:pt>
                <c:pt idx="287">
                  <c:v>23219</c:v>
                </c:pt>
                <c:pt idx="288">
                  <c:v>23219</c:v>
                </c:pt>
                <c:pt idx="289">
                  <c:v>23220</c:v>
                </c:pt>
                <c:pt idx="290">
                  <c:v>23220</c:v>
                </c:pt>
                <c:pt idx="291">
                  <c:v>23220</c:v>
                </c:pt>
                <c:pt idx="292">
                  <c:v>23220</c:v>
                </c:pt>
                <c:pt idx="293">
                  <c:v>23220</c:v>
                </c:pt>
                <c:pt idx="294">
                  <c:v>23220</c:v>
                </c:pt>
                <c:pt idx="295">
                  <c:v>23221</c:v>
                </c:pt>
                <c:pt idx="296">
                  <c:v>23222</c:v>
                </c:pt>
                <c:pt idx="297">
                  <c:v>23222</c:v>
                </c:pt>
                <c:pt idx="298">
                  <c:v>23222</c:v>
                </c:pt>
                <c:pt idx="299">
                  <c:v>23222</c:v>
                </c:pt>
                <c:pt idx="300">
                  <c:v>23222</c:v>
                </c:pt>
                <c:pt idx="301">
                  <c:v>23222</c:v>
                </c:pt>
                <c:pt idx="302">
                  <c:v>23222</c:v>
                </c:pt>
                <c:pt idx="303">
                  <c:v>23223</c:v>
                </c:pt>
                <c:pt idx="304">
                  <c:v>23223</c:v>
                </c:pt>
                <c:pt idx="305">
                  <c:v>23223</c:v>
                </c:pt>
                <c:pt idx="306">
                  <c:v>23224</c:v>
                </c:pt>
                <c:pt idx="307">
                  <c:v>23224</c:v>
                </c:pt>
                <c:pt idx="308">
                  <c:v>23224</c:v>
                </c:pt>
                <c:pt idx="309">
                  <c:v>23224</c:v>
                </c:pt>
                <c:pt idx="310">
                  <c:v>23225</c:v>
                </c:pt>
                <c:pt idx="311">
                  <c:v>23225</c:v>
                </c:pt>
                <c:pt idx="312">
                  <c:v>23225</c:v>
                </c:pt>
                <c:pt idx="313">
                  <c:v>23225</c:v>
                </c:pt>
                <c:pt idx="314">
                  <c:v>23225</c:v>
                </c:pt>
                <c:pt idx="315">
                  <c:v>23225</c:v>
                </c:pt>
                <c:pt idx="316">
                  <c:v>23225</c:v>
                </c:pt>
                <c:pt idx="317">
                  <c:v>23225</c:v>
                </c:pt>
                <c:pt idx="318">
                  <c:v>23225</c:v>
                </c:pt>
                <c:pt idx="319">
                  <c:v>23225</c:v>
                </c:pt>
                <c:pt idx="320">
                  <c:v>23225</c:v>
                </c:pt>
                <c:pt idx="321">
                  <c:v>23225</c:v>
                </c:pt>
                <c:pt idx="322">
                  <c:v>23225</c:v>
                </c:pt>
                <c:pt idx="323">
                  <c:v>23225</c:v>
                </c:pt>
                <c:pt idx="324">
                  <c:v>23225</c:v>
                </c:pt>
                <c:pt idx="325">
                  <c:v>23225</c:v>
                </c:pt>
                <c:pt idx="326">
                  <c:v>23226</c:v>
                </c:pt>
                <c:pt idx="327">
                  <c:v>23226</c:v>
                </c:pt>
                <c:pt idx="328">
                  <c:v>23226</c:v>
                </c:pt>
                <c:pt idx="329">
                  <c:v>23226</c:v>
                </c:pt>
                <c:pt idx="330">
                  <c:v>23226</c:v>
                </c:pt>
                <c:pt idx="331">
                  <c:v>23226</c:v>
                </c:pt>
                <c:pt idx="332">
                  <c:v>23226</c:v>
                </c:pt>
                <c:pt idx="333">
                  <c:v>23226</c:v>
                </c:pt>
                <c:pt idx="334">
                  <c:v>23226</c:v>
                </c:pt>
                <c:pt idx="335">
                  <c:v>23226</c:v>
                </c:pt>
                <c:pt idx="336">
                  <c:v>23226</c:v>
                </c:pt>
                <c:pt idx="337">
                  <c:v>23226</c:v>
                </c:pt>
                <c:pt idx="338">
                  <c:v>23226</c:v>
                </c:pt>
                <c:pt idx="339">
                  <c:v>23226</c:v>
                </c:pt>
                <c:pt idx="340">
                  <c:v>23226</c:v>
                </c:pt>
                <c:pt idx="341">
                  <c:v>23226</c:v>
                </c:pt>
                <c:pt idx="342">
                  <c:v>23226</c:v>
                </c:pt>
                <c:pt idx="343">
                  <c:v>23226</c:v>
                </c:pt>
                <c:pt idx="344">
                  <c:v>23226</c:v>
                </c:pt>
                <c:pt idx="345">
                  <c:v>23226</c:v>
                </c:pt>
                <c:pt idx="346">
                  <c:v>23226</c:v>
                </c:pt>
                <c:pt idx="347">
                  <c:v>23226</c:v>
                </c:pt>
                <c:pt idx="348">
                  <c:v>23226</c:v>
                </c:pt>
                <c:pt idx="349">
                  <c:v>23227</c:v>
                </c:pt>
                <c:pt idx="350">
                  <c:v>23228</c:v>
                </c:pt>
                <c:pt idx="351">
                  <c:v>23228</c:v>
                </c:pt>
                <c:pt idx="352">
                  <c:v>23229</c:v>
                </c:pt>
                <c:pt idx="353">
                  <c:v>23229</c:v>
                </c:pt>
                <c:pt idx="354">
                  <c:v>23229</c:v>
                </c:pt>
                <c:pt idx="355">
                  <c:v>23229</c:v>
                </c:pt>
                <c:pt idx="356">
                  <c:v>23231</c:v>
                </c:pt>
                <c:pt idx="357">
                  <c:v>23231</c:v>
                </c:pt>
                <c:pt idx="358">
                  <c:v>23231</c:v>
                </c:pt>
                <c:pt idx="359">
                  <c:v>23231</c:v>
                </c:pt>
                <c:pt idx="360">
                  <c:v>23231</c:v>
                </c:pt>
                <c:pt idx="361">
                  <c:v>23231</c:v>
                </c:pt>
                <c:pt idx="362">
                  <c:v>23231</c:v>
                </c:pt>
                <c:pt idx="363">
                  <c:v>23231</c:v>
                </c:pt>
                <c:pt idx="364">
                  <c:v>23231</c:v>
                </c:pt>
                <c:pt idx="365">
                  <c:v>23232</c:v>
                </c:pt>
                <c:pt idx="366">
                  <c:v>23236</c:v>
                </c:pt>
                <c:pt idx="367">
                  <c:v>23238</c:v>
                </c:pt>
                <c:pt idx="368">
                  <c:v>23239</c:v>
                </c:pt>
                <c:pt idx="369">
                  <c:v>23239</c:v>
                </c:pt>
                <c:pt idx="370">
                  <c:v>23243</c:v>
                </c:pt>
                <c:pt idx="371">
                  <c:v>23243</c:v>
                </c:pt>
                <c:pt idx="372">
                  <c:v>23243</c:v>
                </c:pt>
                <c:pt idx="373">
                  <c:v>23244</c:v>
                </c:pt>
                <c:pt idx="374">
                  <c:v>23244</c:v>
                </c:pt>
                <c:pt idx="375">
                  <c:v>23244</c:v>
                </c:pt>
                <c:pt idx="376">
                  <c:v>23244</c:v>
                </c:pt>
                <c:pt idx="377">
                  <c:v>23245</c:v>
                </c:pt>
                <c:pt idx="378">
                  <c:v>23245</c:v>
                </c:pt>
                <c:pt idx="379">
                  <c:v>23245</c:v>
                </c:pt>
                <c:pt idx="380">
                  <c:v>23245</c:v>
                </c:pt>
                <c:pt idx="381">
                  <c:v>23245</c:v>
                </c:pt>
                <c:pt idx="382">
                  <c:v>23245</c:v>
                </c:pt>
                <c:pt idx="383">
                  <c:v>23245</c:v>
                </c:pt>
                <c:pt idx="384">
                  <c:v>23246</c:v>
                </c:pt>
                <c:pt idx="385">
                  <c:v>23250</c:v>
                </c:pt>
                <c:pt idx="386">
                  <c:v>23251</c:v>
                </c:pt>
                <c:pt idx="387">
                  <c:v>23251</c:v>
                </c:pt>
                <c:pt idx="388">
                  <c:v>23251</c:v>
                </c:pt>
                <c:pt idx="389">
                  <c:v>23251</c:v>
                </c:pt>
                <c:pt idx="390">
                  <c:v>23251</c:v>
                </c:pt>
                <c:pt idx="391">
                  <c:v>23253</c:v>
                </c:pt>
                <c:pt idx="392">
                  <c:v>23253</c:v>
                </c:pt>
                <c:pt idx="393">
                  <c:v>23254</c:v>
                </c:pt>
                <c:pt idx="394">
                  <c:v>23254</c:v>
                </c:pt>
                <c:pt idx="395">
                  <c:v>23255</c:v>
                </c:pt>
                <c:pt idx="396">
                  <c:v>23256</c:v>
                </c:pt>
                <c:pt idx="397">
                  <c:v>23257</c:v>
                </c:pt>
                <c:pt idx="398">
                  <c:v>23259</c:v>
                </c:pt>
                <c:pt idx="399">
                  <c:v>23261</c:v>
                </c:pt>
                <c:pt idx="400">
                  <c:v>23272</c:v>
                </c:pt>
                <c:pt idx="401">
                  <c:v>23274</c:v>
                </c:pt>
                <c:pt idx="402">
                  <c:v>23299</c:v>
                </c:pt>
                <c:pt idx="403">
                  <c:v>23300</c:v>
                </c:pt>
                <c:pt idx="404">
                  <c:v>23300</c:v>
                </c:pt>
                <c:pt idx="405">
                  <c:v>23301</c:v>
                </c:pt>
                <c:pt idx="406">
                  <c:v>23301</c:v>
                </c:pt>
                <c:pt idx="407">
                  <c:v>23321</c:v>
                </c:pt>
                <c:pt idx="408">
                  <c:v>23324</c:v>
                </c:pt>
                <c:pt idx="409">
                  <c:v>23326</c:v>
                </c:pt>
                <c:pt idx="410">
                  <c:v>23326</c:v>
                </c:pt>
                <c:pt idx="411">
                  <c:v>23326</c:v>
                </c:pt>
                <c:pt idx="412">
                  <c:v>23332</c:v>
                </c:pt>
                <c:pt idx="413">
                  <c:v>23337</c:v>
                </c:pt>
                <c:pt idx="414">
                  <c:v>23341</c:v>
                </c:pt>
                <c:pt idx="415">
                  <c:v>23343</c:v>
                </c:pt>
                <c:pt idx="416">
                  <c:v>23348</c:v>
                </c:pt>
                <c:pt idx="417">
                  <c:v>23349</c:v>
                </c:pt>
                <c:pt idx="418">
                  <c:v>23350</c:v>
                </c:pt>
                <c:pt idx="419">
                  <c:v>23364</c:v>
                </c:pt>
                <c:pt idx="420">
                  <c:v>23373</c:v>
                </c:pt>
                <c:pt idx="421">
                  <c:v>23384</c:v>
                </c:pt>
                <c:pt idx="422">
                  <c:v>23384</c:v>
                </c:pt>
                <c:pt idx="423">
                  <c:v>23402</c:v>
                </c:pt>
                <c:pt idx="424">
                  <c:v>23409</c:v>
                </c:pt>
                <c:pt idx="425">
                  <c:v>23420</c:v>
                </c:pt>
                <c:pt idx="426">
                  <c:v>23455</c:v>
                </c:pt>
                <c:pt idx="427">
                  <c:v>23468</c:v>
                </c:pt>
                <c:pt idx="428">
                  <c:v>23484</c:v>
                </c:pt>
                <c:pt idx="429">
                  <c:v>23536</c:v>
                </c:pt>
                <c:pt idx="430">
                  <c:v>23559</c:v>
                </c:pt>
                <c:pt idx="431">
                  <c:v>23565</c:v>
                </c:pt>
                <c:pt idx="432">
                  <c:v>23570</c:v>
                </c:pt>
                <c:pt idx="433">
                  <c:v>23599</c:v>
                </c:pt>
                <c:pt idx="434">
                  <c:v>23628</c:v>
                </c:pt>
                <c:pt idx="435">
                  <c:v>23643</c:v>
                </c:pt>
                <c:pt idx="436">
                  <c:v>23661</c:v>
                </c:pt>
                <c:pt idx="437">
                  <c:v>23678</c:v>
                </c:pt>
                <c:pt idx="438">
                  <c:v>23691</c:v>
                </c:pt>
                <c:pt idx="439">
                  <c:v>23705</c:v>
                </c:pt>
                <c:pt idx="440">
                  <c:v>23748</c:v>
                </c:pt>
                <c:pt idx="441">
                  <c:v>23780</c:v>
                </c:pt>
                <c:pt idx="442">
                  <c:v>23803</c:v>
                </c:pt>
                <c:pt idx="443">
                  <c:v>23858</c:v>
                </c:pt>
                <c:pt idx="444">
                  <c:v>23942</c:v>
                </c:pt>
                <c:pt idx="445">
                  <c:v>23968</c:v>
                </c:pt>
                <c:pt idx="446">
                  <c:v>23977</c:v>
                </c:pt>
                <c:pt idx="447">
                  <c:v>24025</c:v>
                </c:pt>
                <c:pt idx="448">
                  <c:v>24048</c:v>
                </c:pt>
                <c:pt idx="449">
                  <c:v>24089</c:v>
                </c:pt>
                <c:pt idx="450">
                  <c:v>24118</c:v>
                </c:pt>
                <c:pt idx="451">
                  <c:v>24170</c:v>
                </c:pt>
                <c:pt idx="452">
                  <c:v>24175</c:v>
                </c:pt>
                <c:pt idx="453">
                  <c:v>24182</c:v>
                </c:pt>
                <c:pt idx="454">
                  <c:v>24224</c:v>
                </c:pt>
                <c:pt idx="455">
                  <c:v>24238</c:v>
                </c:pt>
                <c:pt idx="456">
                  <c:v>24268</c:v>
                </c:pt>
                <c:pt idx="457">
                  <c:v>24299</c:v>
                </c:pt>
                <c:pt idx="458">
                  <c:v>24312</c:v>
                </c:pt>
                <c:pt idx="459">
                  <c:v>24350</c:v>
                </c:pt>
                <c:pt idx="460">
                  <c:v>24356</c:v>
                </c:pt>
                <c:pt idx="461">
                  <c:v>24385</c:v>
                </c:pt>
                <c:pt idx="462">
                  <c:v>24408</c:v>
                </c:pt>
                <c:pt idx="463">
                  <c:v>24426</c:v>
                </c:pt>
                <c:pt idx="464">
                  <c:v>24457</c:v>
                </c:pt>
                <c:pt idx="465">
                  <c:v>24485</c:v>
                </c:pt>
                <c:pt idx="466">
                  <c:v>24491</c:v>
                </c:pt>
                <c:pt idx="467">
                  <c:v>24491</c:v>
                </c:pt>
                <c:pt idx="468">
                  <c:v>24507</c:v>
                </c:pt>
                <c:pt idx="469">
                  <c:v>24534</c:v>
                </c:pt>
                <c:pt idx="470">
                  <c:v>24549</c:v>
                </c:pt>
                <c:pt idx="471">
                  <c:v>24556</c:v>
                </c:pt>
                <c:pt idx="472">
                  <c:v>24568</c:v>
                </c:pt>
                <c:pt idx="473">
                  <c:v>24570</c:v>
                </c:pt>
                <c:pt idx="474">
                  <c:v>24573</c:v>
                </c:pt>
                <c:pt idx="475">
                  <c:v>24587</c:v>
                </c:pt>
                <c:pt idx="476">
                  <c:v>24595</c:v>
                </c:pt>
                <c:pt idx="477">
                  <c:v>24598</c:v>
                </c:pt>
                <c:pt idx="478">
                  <c:v>24603</c:v>
                </c:pt>
                <c:pt idx="479">
                  <c:v>24603</c:v>
                </c:pt>
                <c:pt idx="480">
                  <c:v>24608</c:v>
                </c:pt>
                <c:pt idx="481">
                  <c:v>24608</c:v>
                </c:pt>
                <c:pt idx="482">
                  <c:v>24618</c:v>
                </c:pt>
                <c:pt idx="483">
                  <c:v>24624</c:v>
                </c:pt>
                <c:pt idx="484">
                  <c:v>24629</c:v>
                </c:pt>
                <c:pt idx="485">
                  <c:v>24631</c:v>
                </c:pt>
                <c:pt idx="486">
                  <c:v>24640</c:v>
                </c:pt>
                <c:pt idx="487">
                  <c:v>24641</c:v>
                </c:pt>
                <c:pt idx="488">
                  <c:v>24641</c:v>
                </c:pt>
                <c:pt idx="489">
                  <c:v>24644</c:v>
                </c:pt>
                <c:pt idx="490">
                  <c:v>24650</c:v>
                </c:pt>
                <c:pt idx="491">
                  <c:v>24656</c:v>
                </c:pt>
                <c:pt idx="492">
                  <c:v>24662</c:v>
                </c:pt>
                <c:pt idx="493">
                  <c:v>24670</c:v>
                </c:pt>
                <c:pt idx="494">
                  <c:v>24670</c:v>
                </c:pt>
                <c:pt idx="495">
                  <c:v>24671</c:v>
                </c:pt>
                <c:pt idx="496">
                  <c:v>24671</c:v>
                </c:pt>
                <c:pt idx="497">
                  <c:v>24675</c:v>
                </c:pt>
                <c:pt idx="498">
                  <c:v>24684</c:v>
                </c:pt>
                <c:pt idx="499">
                  <c:v>24689</c:v>
                </c:pt>
                <c:pt idx="500">
                  <c:v>2469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83C3-4558-95C0-65D81E5CAFC4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Personál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numRef>
              <c:f>List1!$A$2:$A$502</c:f>
              <c:numCache>
                <c:formatCode>m/d/yyyy</c:formatCode>
                <c:ptCount val="501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</c:numCache>
            </c:numRef>
          </c:cat>
          <c:val>
            <c:numRef>
              <c:f>List1!$C$2:$C$502</c:f>
              <c:numCache>
                <c:formatCode>General</c:formatCode>
                <c:ptCount val="501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4</c:v>
                </c:pt>
                <c:pt idx="4">
                  <c:v>4</c:v>
                </c:pt>
                <c:pt idx="5">
                  <c:v>4</c:v>
                </c:pt>
                <c:pt idx="6">
                  <c:v>4</c:v>
                </c:pt>
                <c:pt idx="7">
                  <c:v>4</c:v>
                </c:pt>
                <c:pt idx="8">
                  <c:v>6</c:v>
                </c:pt>
                <c:pt idx="9">
                  <c:v>7</c:v>
                </c:pt>
                <c:pt idx="10">
                  <c:v>8</c:v>
                </c:pt>
                <c:pt idx="11">
                  <c:v>9</c:v>
                </c:pt>
                <c:pt idx="12">
                  <c:v>9</c:v>
                </c:pt>
                <c:pt idx="13">
                  <c:v>12</c:v>
                </c:pt>
                <c:pt idx="14">
                  <c:v>13</c:v>
                </c:pt>
                <c:pt idx="15">
                  <c:v>15</c:v>
                </c:pt>
                <c:pt idx="16">
                  <c:v>17</c:v>
                </c:pt>
                <c:pt idx="17">
                  <c:v>19</c:v>
                </c:pt>
                <c:pt idx="18">
                  <c:v>20</c:v>
                </c:pt>
                <c:pt idx="19">
                  <c:v>24</c:v>
                </c:pt>
                <c:pt idx="20">
                  <c:v>29</c:v>
                </c:pt>
                <c:pt idx="21">
                  <c:v>33</c:v>
                </c:pt>
                <c:pt idx="22">
                  <c:v>34</c:v>
                </c:pt>
                <c:pt idx="23">
                  <c:v>38</c:v>
                </c:pt>
                <c:pt idx="24">
                  <c:v>50</c:v>
                </c:pt>
                <c:pt idx="25">
                  <c:v>57</c:v>
                </c:pt>
                <c:pt idx="26">
                  <c:v>59</c:v>
                </c:pt>
                <c:pt idx="27">
                  <c:v>63</c:v>
                </c:pt>
                <c:pt idx="28">
                  <c:v>86</c:v>
                </c:pt>
                <c:pt idx="29">
                  <c:v>96</c:v>
                </c:pt>
                <c:pt idx="30">
                  <c:v>126</c:v>
                </c:pt>
                <c:pt idx="31">
                  <c:v>221</c:v>
                </c:pt>
                <c:pt idx="32">
                  <c:v>252</c:v>
                </c:pt>
                <c:pt idx="33">
                  <c:v>282</c:v>
                </c:pt>
                <c:pt idx="34">
                  <c:v>372</c:v>
                </c:pt>
                <c:pt idx="35">
                  <c:v>418</c:v>
                </c:pt>
                <c:pt idx="36">
                  <c:v>460</c:v>
                </c:pt>
                <c:pt idx="37">
                  <c:v>545</c:v>
                </c:pt>
                <c:pt idx="38">
                  <c:v>632</c:v>
                </c:pt>
                <c:pt idx="39">
                  <c:v>683</c:v>
                </c:pt>
                <c:pt idx="40">
                  <c:v>708</c:v>
                </c:pt>
                <c:pt idx="41">
                  <c:v>870</c:v>
                </c:pt>
                <c:pt idx="42">
                  <c:v>1025</c:v>
                </c:pt>
                <c:pt idx="43">
                  <c:v>1217</c:v>
                </c:pt>
                <c:pt idx="44">
                  <c:v>1418</c:v>
                </c:pt>
                <c:pt idx="45">
                  <c:v>1629</c:v>
                </c:pt>
                <c:pt idx="46">
                  <c:v>1735</c:v>
                </c:pt>
                <c:pt idx="47">
                  <c:v>1783</c:v>
                </c:pt>
                <c:pt idx="48">
                  <c:v>1977</c:v>
                </c:pt>
                <c:pt idx="49">
                  <c:v>2170</c:v>
                </c:pt>
                <c:pt idx="50">
                  <c:v>2429</c:v>
                </c:pt>
                <c:pt idx="51">
                  <c:v>2664</c:v>
                </c:pt>
                <c:pt idx="52">
                  <c:v>2999</c:v>
                </c:pt>
                <c:pt idx="53">
                  <c:v>3186</c:v>
                </c:pt>
                <c:pt idx="54">
                  <c:v>3276</c:v>
                </c:pt>
                <c:pt idx="55">
                  <c:v>3653</c:v>
                </c:pt>
                <c:pt idx="56">
                  <c:v>4050</c:v>
                </c:pt>
                <c:pt idx="57">
                  <c:v>4184</c:v>
                </c:pt>
                <c:pt idx="58">
                  <c:v>4656</c:v>
                </c:pt>
                <c:pt idx="59">
                  <c:v>4990</c:v>
                </c:pt>
                <c:pt idx="60">
                  <c:v>5174</c:v>
                </c:pt>
                <c:pt idx="61">
                  <c:v>5290</c:v>
                </c:pt>
                <c:pt idx="62">
                  <c:v>5588</c:v>
                </c:pt>
                <c:pt idx="63">
                  <c:v>5820</c:v>
                </c:pt>
                <c:pt idx="64">
                  <c:v>6153</c:v>
                </c:pt>
                <c:pt idx="65">
                  <c:v>6434</c:v>
                </c:pt>
                <c:pt idx="66">
                  <c:v>6675</c:v>
                </c:pt>
                <c:pt idx="67">
                  <c:v>6792</c:v>
                </c:pt>
                <c:pt idx="68">
                  <c:v>6841</c:v>
                </c:pt>
                <c:pt idx="69">
                  <c:v>7039</c:v>
                </c:pt>
                <c:pt idx="70">
                  <c:v>7244</c:v>
                </c:pt>
                <c:pt idx="71">
                  <c:v>7506</c:v>
                </c:pt>
                <c:pt idx="72">
                  <c:v>7738</c:v>
                </c:pt>
                <c:pt idx="73">
                  <c:v>7942</c:v>
                </c:pt>
                <c:pt idx="74">
                  <c:v>8015</c:v>
                </c:pt>
                <c:pt idx="75">
                  <c:v>8045</c:v>
                </c:pt>
                <c:pt idx="76">
                  <c:v>8225</c:v>
                </c:pt>
                <c:pt idx="77">
                  <c:v>8271</c:v>
                </c:pt>
                <c:pt idx="78">
                  <c:v>8434</c:v>
                </c:pt>
                <c:pt idx="79">
                  <c:v>8563</c:v>
                </c:pt>
                <c:pt idx="80">
                  <c:v>8684</c:v>
                </c:pt>
                <c:pt idx="81">
                  <c:v>8720</c:v>
                </c:pt>
                <c:pt idx="82">
                  <c:v>8737</c:v>
                </c:pt>
                <c:pt idx="83">
                  <c:v>8877</c:v>
                </c:pt>
                <c:pt idx="84">
                  <c:v>8984</c:v>
                </c:pt>
                <c:pt idx="85">
                  <c:v>9078</c:v>
                </c:pt>
                <c:pt idx="86">
                  <c:v>9134</c:v>
                </c:pt>
                <c:pt idx="87">
                  <c:v>9214</c:v>
                </c:pt>
                <c:pt idx="88">
                  <c:v>9237</c:v>
                </c:pt>
                <c:pt idx="89">
                  <c:v>9253</c:v>
                </c:pt>
                <c:pt idx="90">
                  <c:v>9358</c:v>
                </c:pt>
                <c:pt idx="91">
                  <c:v>9443</c:v>
                </c:pt>
                <c:pt idx="92">
                  <c:v>9509</c:v>
                </c:pt>
                <c:pt idx="93">
                  <c:v>9568</c:v>
                </c:pt>
                <c:pt idx="94">
                  <c:v>9657</c:v>
                </c:pt>
                <c:pt idx="95">
                  <c:v>9697</c:v>
                </c:pt>
                <c:pt idx="96">
                  <c:v>9722</c:v>
                </c:pt>
                <c:pt idx="97">
                  <c:v>9842</c:v>
                </c:pt>
                <c:pt idx="98">
                  <c:v>9918</c:v>
                </c:pt>
                <c:pt idx="99">
                  <c:v>9981</c:v>
                </c:pt>
                <c:pt idx="100">
                  <c:v>10040</c:v>
                </c:pt>
                <c:pt idx="101">
                  <c:v>10117</c:v>
                </c:pt>
                <c:pt idx="102">
                  <c:v>10138</c:v>
                </c:pt>
                <c:pt idx="103">
                  <c:v>10155</c:v>
                </c:pt>
                <c:pt idx="104">
                  <c:v>10284</c:v>
                </c:pt>
                <c:pt idx="105">
                  <c:v>10355</c:v>
                </c:pt>
                <c:pt idx="106">
                  <c:v>10451</c:v>
                </c:pt>
                <c:pt idx="107">
                  <c:v>10502</c:v>
                </c:pt>
                <c:pt idx="108">
                  <c:v>10585</c:v>
                </c:pt>
                <c:pt idx="109">
                  <c:v>10613</c:v>
                </c:pt>
                <c:pt idx="110">
                  <c:v>10640</c:v>
                </c:pt>
                <c:pt idx="111">
                  <c:v>10799</c:v>
                </c:pt>
                <c:pt idx="112">
                  <c:v>10910</c:v>
                </c:pt>
                <c:pt idx="113">
                  <c:v>11026</c:v>
                </c:pt>
                <c:pt idx="114">
                  <c:v>11054</c:v>
                </c:pt>
                <c:pt idx="115">
                  <c:v>11099</c:v>
                </c:pt>
                <c:pt idx="116">
                  <c:v>11149</c:v>
                </c:pt>
                <c:pt idx="117">
                  <c:v>11196</c:v>
                </c:pt>
                <c:pt idx="118">
                  <c:v>11388</c:v>
                </c:pt>
                <c:pt idx="119">
                  <c:v>11535</c:v>
                </c:pt>
                <c:pt idx="120">
                  <c:v>11647</c:v>
                </c:pt>
                <c:pt idx="121">
                  <c:v>11732</c:v>
                </c:pt>
                <c:pt idx="122">
                  <c:v>11761</c:v>
                </c:pt>
                <c:pt idx="123">
                  <c:v>11821</c:v>
                </c:pt>
                <c:pt idx="124">
                  <c:v>11856</c:v>
                </c:pt>
                <c:pt idx="125">
                  <c:v>12133</c:v>
                </c:pt>
                <c:pt idx="126">
                  <c:v>12279</c:v>
                </c:pt>
                <c:pt idx="127">
                  <c:v>12391</c:v>
                </c:pt>
                <c:pt idx="128">
                  <c:v>12491</c:v>
                </c:pt>
                <c:pt idx="129">
                  <c:v>12613</c:v>
                </c:pt>
                <c:pt idx="130">
                  <c:v>12661</c:v>
                </c:pt>
                <c:pt idx="131">
                  <c:v>12686</c:v>
                </c:pt>
                <c:pt idx="132">
                  <c:v>12917</c:v>
                </c:pt>
                <c:pt idx="133">
                  <c:v>13014</c:v>
                </c:pt>
                <c:pt idx="134">
                  <c:v>13123</c:v>
                </c:pt>
                <c:pt idx="135">
                  <c:v>13176</c:v>
                </c:pt>
                <c:pt idx="136">
                  <c:v>13241</c:v>
                </c:pt>
                <c:pt idx="137">
                  <c:v>13273</c:v>
                </c:pt>
                <c:pt idx="138">
                  <c:v>13299</c:v>
                </c:pt>
                <c:pt idx="139">
                  <c:v>13425</c:v>
                </c:pt>
                <c:pt idx="140">
                  <c:v>13500</c:v>
                </c:pt>
                <c:pt idx="141">
                  <c:v>13571</c:v>
                </c:pt>
                <c:pt idx="142">
                  <c:v>13631</c:v>
                </c:pt>
                <c:pt idx="143">
                  <c:v>13711</c:v>
                </c:pt>
                <c:pt idx="144">
                  <c:v>13738</c:v>
                </c:pt>
                <c:pt idx="145">
                  <c:v>13749</c:v>
                </c:pt>
                <c:pt idx="146">
                  <c:v>13838</c:v>
                </c:pt>
                <c:pt idx="147">
                  <c:v>13914</c:v>
                </c:pt>
                <c:pt idx="148">
                  <c:v>13974</c:v>
                </c:pt>
                <c:pt idx="149">
                  <c:v>14006</c:v>
                </c:pt>
                <c:pt idx="150">
                  <c:v>14052</c:v>
                </c:pt>
                <c:pt idx="151">
                  <c:v>14082</c:v>
                </c:pt>
                <c:pt idx="152">
                  <c:v>14091</c:v>
                </c:pt>
                <c:pt idx="153">
                  <c:v>14171</c:v>
                </c:pt>
                <c:pt idx="154">
                  <c:v>14240</c:v>
                </c:pt>
                <c:pt idx="155">
                  <c:v>14299</c:v>
                </c:pt>
                <c:pt idx="156">
                  <c:v>14342</c:v>
                </c:pt>
                <c:pt idx="157">
                  <c:v>14390</c:v>
                </c:pt>
                <c:pt idx="158">
                  <c:v>14401</c:v>
                </c:pt>
                <c:pt idx="159">
                  <c:v>14418</c:v>
                </c:pt>
                <c:pt idx="160">
                  <c:v>14489</c:v>
                </c:pt>
                <c:pt idx="161">
                  <c:v>14510</c:v>
                </c:pt>
                <c:pt idx="162">
                  <c:v>14544</c:v>
                </c:pt>
                <c:pt idx="163">
                  <c:v>14583</c:v>
                </c:pt>
                <c:pt idx="164">
                  <c:v>14622</c:v>
                </c:pt>
                <c:pt idx="165">
                  <c:v>14637</c:v>
                </c:pt>
                <c:pt idx="166">
                  <c:v>14647</c:v>
                </c:pt>
                <c:pt idx="167">
                  <c:v>14710</c:v>
                </c:pt>
                <c:pt idx="168">
                  <c:v>14743</c:v>
                </c:pt>
                <c:pt idx="169">
                  <c:v>14779</c:v>
                </c:pt>
                <c:pt idx="170">
                  <c:v>14808</c:v>
                </c:pt>
                <c:pt idx="171">
                  <c:v>14843</c:v>
                </c:pt>
                <c:pt idx="172">
                  <c:v>14849</c:v>
                </c:pt>
                <c:pt idx="173">
                  <c:v>14867</c:v>
                </c:pt>
                <c:pt idx="174">
                  <c:v>14942</c:v>
                </c:pt>
                <c:pt idx="175">
                  <c:v>14987</c:v>
                </c:pt>
                <c:pt idx="176">
                  <c:v>15021</c:v>
                </c:pt>
                <c:pt idx="177">
                  <c:v>15054</c:v>
                </c:pt>
                <c:pt idx="178">
                  <c:v>15093</c:v>
                </c:pt>
                <c:pt idx="179">
                  <c:v>15102</c:v>
                </c:pt>
                <c:pt idx="180">
                  <c:v>15111</c:v>
                </c:pt>
                <c:pt idx="181">
                  <c:v>15168</c:v>
                </c:pt>
                <c:pt idx="182">
                  <c:v>15207</c:v>
                </c:pt>
                <c:pt idx="183">
                  <c:v>15263</c:v>
                </c:pt>
                <c:pt idx="184">
                  <c:v>15303</c:v>
                </c:pt>
                <c:pt idx="185">
                  <c:v>15331</c:v>
                </c:pt>
                <c:pt idx="186">
                  <c:v>15345</c:v>
                </c:pt>
                <c:pt idx="187">
                  <c:v>15355</c:v>
                </c:pt>
                <c:pt idx="188">
                  <c:v>15417</c:v>
                </c:pt>
                <c:pt idx="189">
                  <c:v>15454</c:v>
                </c:pt>
                <c:pt idx="190">
                  <c:v>15484</c:v>
                </c:pt>
                <c:pt idx="191">
                  <c:v>15510</c:v>
                </c:pt>
                <c:pt idx="192">
                  <c:v>15528</c:v>
                </c:pt>
                <c:pt idx="193">
                  <c:v>15539</c:v>
                </c:pt>
                <c:pt idx="194">
                  <c:v>15546</c:v>
                </c:pt>
                <c:pt idx="195">
                  <c:v>15582</c:v>
                </c:pt>
                <c:pt idx="196">
                  <c:v>15605</c:v>
                </c:pt>
                <c:pt idx="197">
                  <c:v>15629</c:v>
                </c:pt>
                <c:pt idx="198">
                  <c:v>15645</c:v>
                </c:pt>
                <c:pt idx="199">
                  <c:v>15665</c:v>
                </c:pt>
                <c:pt idx="200">
                  <c:v>15666</c:v>
                </c:pt>
                <c:pt idx="201">
                  <c:v>15670</c:v>
                </c:pt>
                <c:pt idx="202">
                  <c:v>15702</c:v>
                </c:pt>
                <c:pt idx="203">
                  <c:v>15720</c:v>
                </c:pt>
                <c:pt idx="204">
                  <c:v>15730</c:v>
                </c:pt>
                <c:pt idx="205">
                  <c:v>15738</c:v>
                </c:pt>
                <c:pt idx="206">
                  <c:v>15754</c:v>
                </c:pt>
                <c:pt idx="207">
                  <c:v>15757</c:v>
                </c:pt>
                <c:pt idx="208">
                  <c:v>15758</c:v>
                </c:pt>
                <c:pt idx="209">
                  <c:v>15777</c:v>
                </c:pt>
                <c:pt idx="210">
                  <c:v>15791</c:v>
                </c:pt>
                <c:pt idx="211">
                  <c:v>15804</c:v>
                </c:pt>
                <c:pt idx="212">
                  <c:v>15816</c:v>
                </c:pt>
                <c:pt idx="213">
                  <c:v>15819</c:v>
                </c:pt>
                <c:pt idx="214">
                  <c:v>15822</c:v>
                </c:pt>
                <c:pt idx="215">
                  <c:v>15824</c:v>
                </c:pt>
                <c:pt idx="216">
                  <c:v>15829</c:v>
                </c:pt>
                <c:pt idx="217">
                  <c:v>15851</c:v>
                </c:pt>
                <c:pt idx="218">
                  <c:v>15867</c:v>
                </c:pt>
                <c:pt idx="219">
                  <c:v>15883</c:v>
                </c:pt>
                <c:pt idx="220">
                  <c:v>15891</c:v>
                </c:pt>
                <c:pt idx="221">
                  <c:v>15896</c:v>
                </c:pt>
                <c:pt idx="222">
                  <c:v>15897</c:v>
                </c:pt>
                <c:pt idx="223">
                  <c:v>15905</c:v>
                </c:pt>
                <c:pt idx="224">
                  <c:v>15911</c:v>
                </c:pt>
                <c:pt idx="225">
                  <c:v>15915</c:v>
                </c:pt>
                <c:pt idx="226">
                  <c:v>15921</c:v>
                </c:pt>
                <c:pt idx="227">
                  <c:v>15927</c:v>
                </c:pt>
                <c:pt idx="228">
                  <c:v>15928</c:v>
                </c:pt>
                <c:pt idx="229">
                  <c:v>15929</c:v>
                </c:pt>
                <c:pt idx="230">
                  <c:v>15939</c:v>
                </c:pt>
                <c:pt idx="231">
                  <c:v>15942</c:v>
                </c:pt>
                <c:pt idx="232">
                  <c:v>15946</c:v>
                </c:pt>
                <c:pt idx="233">
                  <c:v>15950</c:v>
                </c:pt>
                <c:pt idx="234">
                  <c:v>15953</c:v>
                </c:pt>
                <c:pt idx="235">
                  <c:v>15954</c:v>
                </c:pt>
                <c:pt idx="236">
                  <c:v>15954</c:v>
                </c:pt>
                <c:pt idx="237">
                  <c:v>15962</c:v>
                </c:pt>
                <c:pt idx="238">
                  <c:v>15969</c:v>
                </c:pt>
                <c:pt idx="239">
                  <c:v>15971</c:v>
                </c:pt>
                <c:pt idx="240">
                  <c:v>15973</c:v>
                </c:pt>
                <c:pt idx="241">
                  <c:v>15978</c:v>
                </c:pt>
                <c:pt idx="242">
                  <c:v>15978</c:v>
                </c:pt>
                <c:pt idx="243">
                  <c:v>15979</c:v>
                </c:pt>
                <c:pt idx="244">
                  <c:v>15981</c:v>
                </c:pt>
                <c:pt idx="245">
                  <c:v>15983</c:v>
                </c:pt>
                <c:pt idx="246">
                  <c:v>15984</c:v>
                </c:pt>
                <c:pt idx="247">
                  <c:v>15989</c:v>
                </c:pt>
                <c:pt idx="248">
                  <c:v>15991</c:v>
                </c:pt>
                <c:pt idx="249">
                  <c:v>15992</c:v>
                </c:pt>
                <c:pt idx="250">
                  <c:v>15992</c:v>
                </c:pt>
                <c:pt idx="251">
                  <c:v>15993</c:v>
                </c:pt>
                <c:pt idx="252">
                  <c:v>15997</c:v>
                </c:pt>
                <c:pt idx="253">
                  <c:v>15997</c:v>
                </c:pt>
                <c:pt idx="254">
                  <c:v>15999</c:v>
                </c:pt>
                <c:pt idx="255">
                  <c:v>16000</c:v>
                </c:pt>
                <c:pt idx="256">
                  <c:v>16000</c:v>
                </c:pt>
                <c:pt idx="257">
                  <c:v>16000</c:v>
                </c:pt>
                <c:pt idx="258">
                  <c:v>16005</c:v>
                </c:pt>
                <c:pt idx="259">
                  <c:v>16009</c:v>
                </c:pt>
                <c:pt idx="260">
                  <c:v>16011</c:v>
                </c:pt>
                <c:pt idx="261">
                  <c:v>16014</c:v>
                </c:pt>
                <c:pt idx="262">
                  <c:v>16015</c:v>
                </c:pt>
                <c:pt idx="263">
                  <c:v>16015</c:v>
                </c:pt>
                <c:pt idx="264">
                  <c:v>16015</c:v>
                </c:pt>
                <c:pt idx="265">
                  <c:v>16017</c:v>
                </c:pt>
                <c:pt idx="266">
                  <c:v>16018</c:v>
                </c:pt>
                <c:pt idx="267">
                  <c:v>16019</c:v>
                </c:pt>
                <c:pt idx="268">
                  <c:v>16020</c:v>
                </c:pt>
                <c:pt idx="269">
                  <c:v>16020</c:v>
                </c:pt>
                <c:pt idx="270">
                  <c:v>16020</c:v>
                </c:pt>
                <c:pt idx="271">
                  <c:v>16020</c:v>
                </c:pt>
                <c:pt idx="272">
                  <c:v>16020</c:v>
                </c:pt>
                <c:pt idx="273">
                  <c:v>16020</c:v>
                </c:pt>
                <c:pt idx="274">
                  <c:v>16020</c:v>
                </c:pt>
                <c:pt idx="275">
                  <c:v>16021</c:v>
                </c:pt>
                <c:pt idx="276">
                  <c:v>16021</c:v>
                </c:pt>
                <c:pt idx="277">
                  <c:v>16021</c:v>
                </c:pt>
                <c:pt idx="278">
                  <c:v>16021</c:v>
                </c:pt>
                <c:pt idx="279">
                  <c:v>16021</c:v>
                </c:pt>
                <c:pt idx="280">
                  <c:v>16021</c:v>
                </c:pt>
                <c:pt idx="281">
                  <c:v>16021</c:v>
                </c:pt>
                <c:pt idx="282">
                  <c:v>16021</c:v>
                </c:pt>
                <c:pt idx="283">
                  <c:v>16021</c:v>
                </c:pt>
                <c:pt idx="284">
                  <c:v>16021</c:v>
                </c:pt>
                <c:pt idx="285">
                  <c:v>16021</c:v>
                </c:pt>
                <c:pt idx="286">
                  <c:v>16021</c:v>
                </c:pt>
                <c:pt idx="287">
                  <c:v>16021</c:v>
                </c:pt>
                <c:pt idx="288">
                  <c:v>16021</c:v>
                </c:pt>
                <c:pt idx="289">
                  <c:v>16021</c:v>
                </c:pt>
                <c:pt idx="290">
                  <c:v>16021</c:v>
                </c:pt>
                <c:pt idx="291">
                  <c:v>16021</c:v>
                </c:pt>
                <c:pt idx="292">
                  <c:v>16021</c:v>
                </c:pt>
                <c:pt idx="293">
                  <c:v>16021</c:v>
                </c:pt>
                <c:pt idx="294">
                  <c:v>16021</c:v>
                </c:pt>
                <c:pt idx="295">
                  <c:v>16021</c:v>
                </c:pt>
                <c:pt idx="296">
                  <c:v>16021</c:v>
                </c:pt>
                <c:pt idx="297">
                  <c:v>16021</c:v>
                </c:pt>
                <c:pt idx="298">
                  <c:v>16021</c:v>
                </c:pt>
                <c:pt idx="299">
                  <c:v>16021</c:v>
                </c:pt>
                <c:pt idx="300">
                  <c:v>16021</c:v>
                </c:pt>
                <c:pt idx="301">
                  <c:v>16021</c:v>
                </c:pt>
                <c:pt idx="302">
                  <c:v>16022</c:v>
                </c:pt>
                <c:pt idx="303">
                  <c:v>16022</c:v>
                </c:pt>
                <c:pt idx="304">
                  <c:v>16022</c:v>
                </c:pt>
                <c:pt idx="305">
                  <c:v>16022</c:v>
                </c:pt>
                <c:pt idx="306">
                  <c:v>16022</c:v>
                </c:pt>
                <c:pt idx="307">
                  <c:v>16022</c:v>
                </c:pt>
                <c:pt idx="308">
                  <c:v>16022</c:v>
                </c:pt>
                <c:pt idx="309">
                  <c:v>16022</c:v>
                </c:pt>
                <c:pt idx="310">
                  <c:v>16022</c:v>
                </c:pt>
                <c:pt idx="311">
                  <c:v>16022</c:v>
                </c:pt>
                <c:pt idx="312">
                  <c:v>16022</c:v>
                </c:pt>
                <c:pt idx="313">
                  <c:v>16023</c:v>
                </c:pt>
                <c:pt idx="314">
                  <c:v>16023</c:v>
                </c:pt>
                <c:pt idx="315">
                  <c:v>16023</c:v>
                </c:pt>
                <c:pt idx="316">
                  <c:v>16023</c:v>
                </c:pt>
                <c:pt idx="317">
                  <c:v>16023</c:v>
                </c:pt>
                <c:pt idx="318">
                  <c:v>16023</c:v>
                </c:pt>
                <c:pt idx="319">
                  <c:v>16023</c:v>
                </c:pt>
                <c:pt idx="320">
                  <c:v>16023</c:v>
                </c:pt>
                <c:pt idx="321">
                  <c:v>16023</c:v>
                </c:pt>
                <c:pt idx="322">
                  <c:v>16023</c:v>
                </c:pt>
                <c:pt idx="323">
                  <c:v>16024</c:v>
                </c:pt>
                <c:pt idx="324">
                  <c:v>16024</c:v>
                </c:pt>
                <c:pt idx="325">
                  <c:v>16024</c:v>
                </c:pt>
                <c:pt idx="326">
                  <c:v>16024</c:v>
                </c:pt>
                <c:pt idx="327">
                  <c:v>16024</c:v>
                </c:pt>
                <c:pt idx="328">
                  <c:v>16024</c:v>
                </c:pt>
                <c:pt idx="329">
                  <c:v>16025</c:v>
                </c:pt>
                <c:pt idx="330">
                  <c:v>16027</c:v>
                </c:pt>
                <c:pt idx="331">
                  <c:v>16027</c:v>
                </c:pt>
                <c:pt idx="332">
                  <c:v>16027</c:v>
                </c:pt>
                <c:pt idx="333">
                  <c:v>16027</c:v>
                </c:pt>
                <c:pt idx="334">
                  <c:v>16027</c:v>
                </c:pt>
                <c:pt idx="335">
                  <c:v>16027</c:v>
                </c:pt>
                <c:pt idx="336">
                  <c:v>16027</c:v>
                </c:pt>
                <c:pt idx="337">
                  <c:v>16027</c:v>
                </c:pt>
                <c:pt idx="338">
                  <c:v>16027</c:v>
                </c:pt>
                <c:pt idx="339">
                  <c:v>16027</c:v>
                </c:pt>
                <c:pt idx="340">
                  <c:v>16027</c:v>
                </c:pt>
                <c:pt idx="341">
                  <c:v>16028</c:v>
                </c:pt>
                <c:pt idx="342">
                  <c:v>16028</c:v>
                </c:pt>
                <c:pt idx="343">
                  <c:v>16028</c:v>
                </c:pt>
                <c:pt idx="344">
                  <c:v>16029</c:v>
                </c:pt>
                <c:pt idx="345">
                  <c:v>16029</c:v>
                </c:pt>
                <c:pt idx="346">
                  <c:v>16029</c:v>
                </c:pt>
                <c:pt idx="347">
                  <c:v>16029</c:v>
                </c:pt>
                <c:pt idx="348">
                  <c:v>16029</c:v>
                </c:pt>
                <c:pt idx="349">
                  <c:v>16029</c:v>
                </c:pt>
                <c:pt idx="350">
                  <c:v>16029</c:v>
                </c:pt>
                <c:pt idx="351">
                  <c:v>16029</c:v>
                </c:pt>
                <c:pt idx="352">
                  <c:v>16029</c:v>
                </c:pt>
                <c:pt idx="353">
                  <c:v>16029</c:v>
                </c:pt>
                <c:pt idx="354">
                  <c:v>16029</c:v>
                </c:pt>
                <c:pt idx="355">
                  <c:v>16029</c:v>
                </c:pt>
                <c:pt idx="356">
                  <c:v>16030</c:v>
                </c:pt>
                <c:pt idx="357">
                  <c:v>16030</c:v>
                </c:pt>
                <c:pt idx="358">
                  <c:v>16030</c:v>
                </c:pt>
                <c:pt idx="359">
                  <c:v>16031</c:v>
                </c:pt>
                <c:pt idx="360">
                  <c:v>16032</c:v>
                </c:pt>
                <c:pt idx="361">
                  <c:v>16033</c:v>
                </c:pt>
                <c:pt idx="362">
                  <c:v>16033</c:v>
                </c:pt>
                <c:pt idx="363">
                  <c:v>16033</c:v>
                </c:pt>
                <c:pt idx="364">
                  <c:v>16033</c:v>
                </c:pt>
                <c:pt idx="365">
                  <c:v>16036</c:v>
                </c:pt>
                <c:pt idx="366">
                  <c:v>16037</c:v>
                </c:pt>
                <c:pt idx="367">
                  <c:v>16038</c:v>
                </c:pt>
                <c:pt idx="368">
                  <c:v>16038</c:v>
                </c:pt>
                <c:pt idx="369">
                  <c:v>16038</c:v>
                </c:pt>
                <c:pt idx="370">
                  <c:v>16039</c:v>
                </c:pt>
                <c:pt idx="371">
                  <c:v>16041</c:v>
                </c:pt>
                <c:pt idx="372">
                  <c:v>16042</c:v>
                </c:pt>
                <c:pt idx="373">
                  <c:v>16043</c:v>
                </c:pt>
                <c:pt idx="374">
                  <c:v>16043</c:v>
                </c:pt>
                <c:pt idx="375">
                  <c:v>16043</c:v>
                </c:pt>
                <c:pt idx="376">
                  <c:v>16044</c:v>
                </c:pt>
                <c:pt idx="377">
                  <c:v>16044</c:v>
                </c:pt>
                <c:pt idx="378">
                  <c:v>16045</c:v>
                </c:pt>
                <c:pt idx="379">
                  <c:v>16045</c:v>
                </c:pt>
                <c:pt idx="380">
                  <c:v>16045</c:v>
                </c:pt>
                <c:pt idx="381">
                  <c:v>16045</c:v>
                </c:pt>
                <c:pt idx="382">
                  <c:v>16046</c:v>
                </c:pt>
                <c:pt idx="383">
                  <c:v>16046</c:v>
                </c:pt>
                <c:pt idx="384">
                  <c:v>16050</c:v>
                </c:pt>
                <c:pt idx="385">
                  <c:v>16054</c:v>
                </c:pt>
                <c:pt idx="386">
                  <c:v>16056</c:v>
                </c:pt>
                <c:pt idx="387">
                  <c:v>16056</c:v>
                </c:pt>
                <c:pt idx="388">
                  <c:v>16056</c:v>
                </c:pt>
                <c:pt idx="389">
                  <c:v>16057</c:v>
                </c:pt>
                <c:pt idx="390">
                  <c:v>16058</c:v>
                </c:pt>
                <c:pt idx="391">
                  <c:v>16063</c:v>
                </c:pt>
                <c:pt idx="392">
                  <c:v>16065</c:v>
                </c:pt>
                <c:pt idx="393">
                  <c:v>16072</c:v>
                </c:pt>
                <c:pt idx="394">
                  <c:v>16075</c:v>
                </c:pt>
                <c:pt idx="395">
                  <c:v>16077</c:v>
                </c:pt>
                <c:pt idx="396">
                  <c:v>16077</c:v>
                </c:pt>
                <c:pt idx="397">
                  <c:v>16077</c:v>
                </c:pt>
                <c:pt idx="398">
                  <c:v>16080</c:v>
                </c:pt>
                <c:pt idx="399">
                  <c:v>16085</c:v>
                </c:pt>
                <c:pt idx="400">
                  <c:v>16087</c:v>
                </c:pt>
                <c:pt idx="401">
                  <c:v>16088</c:v>
                </c:pt>
                <c:pt idx="402">
                  <c:v>16090</c:v>
                </c:pt>
                <c:pt idx="403">
                  <c:v>16091</c:v>
                </c:pt>
                <c:pt idx="404">
                  <c:v>16091</c:v>
                </c:pt>
                <c:pt idx="405">
                  <c:v>16093</c:v>
                </c:pt>
                <c:pt idx="406">
                  <c:v>16096</c:v>
                </c:pt>
                <c:pt idx="407">
                  <c:v>16097</c:v>
                </c:pt>
                <c:pt idx="408">
                  <c:v>16100</c:v>
                </c:pt>
                <c:pt idx="409">
                  <c:v>16106</c:v>
                </c:pt>
                <c:pt idx="410">
                  <c:v>16108</c:v>
                </c:pt>
                <c:pt idx="411">
                  <c:v>16109</c:v>
                </c:pt>
                <c:pt idx="412">
                  <c:v>16121</c:v>
                </c:pt>
                <c:pt idx="413">
                  <c:v>16129</c:v>
                </c:pt>
                <c:pt idx="414">
                  <c:v>16138</c:v>
                </c:pt>
                <c:pt idx="415">
                  <c:v>16145</c:v>
                </c:pt>
                <c:pt idx="416">
                  <c:v>16155</c:v>
                </c:pt>
                <c:pt idx="417">
                  <c:v>16155</c:v>
                </c:pt>
                <c:pt idx="418">
                  <c:v>16158</c:v>
                </c:pt>
                <c:pt idx="419">
                  <c:v>16177</c:v>
                </c:pt>
                <c:pt idx="420">
                  <c:v>16182</c:v>
                </c:pt>
                <c:pt idx="421">
                  <c:v>16199</c:v>
                </c:pt>
                <c:pt idx="422">
                  <c:v>16202</c:v>
                </c:pt>
                <c:pt idx="423">
                  <c:v>16210</c:v>
                </c:pt>
                <c:pt idx="424">
                  <c:v>16215</c:v>
                </c:pt>
                <c:pt idx="425">
                  <c:v>16219</c:v>
                </c:pt>
                <c:pt idx="426">
                  <c:v>16260</c:v>
                </c:pt>
                <c:pt idx="427">
                  <c:v>16285</c:v>
                </c:pt>
                <c:pt idx="428">
                  <c:v>16304</c:v>
                </c:pt>
                <c:pt idx="429">
                  <c:v>16328</c:v>
                </c:pt>
                <c:pt idx="430">
                  <c:v>16355</c:v>
                </c:pt>
                <c:pt idx="431">
                  <c:v>16368</c:v>
                </c:pt>
                <c:pt idx="432">
                  <c:v>16373</c:v>
                </c:pt>
                <c:pt idx="433">
                  <c:v>16424</c:v>
                </c:pt>
                <c:pt idx="434">
                  <c:v>16449</c:v>
                </c:pt>
                <c:pt idx="435">
                  <c:v>16478</c:v>
                </c:pt>
                <c:pt idx="436">
                  <c:v>16514</c:v>
                </c:pt>
                <c:pt idx="437">
                  <c:v>16548</c:v>
                </c:pt>
                <c:pt idx="438">
                  <c:v>16568</c:v>
                </c:pt>
                <c:pt idx="439">
                  <c:v>16582</c:v>
                </c:pt>
                <c:pt idx="440">
                  <c:v>16637</c:v>
                </c:pt>
                <c:pt idx="441">
                  <c:v>16670</c:v>
                </c:pt>
                <c:pt idx="442">
                  <c:v>16683</c:v>
                </c:pt>
                <c:pt idx="443">
                  <c:v>16725</c:v>
                </c:pt>
                <c:pt idx="444">
                  <c:v>16777</c:v>
                </c:pt>
                <c:pt idx="445">
                  <c:v>16788</c:v>
                </c:pt>
                <c:pt idx="446">
                  <c:v>16795</c:v>
                </c:pt>
                <c:pt idx="447">
                  <c:v>16863</c:v>
                </c:pt>
                <c:pt idx="448">
                  <c:v>16907</c:v>
                </c:pt>
                <c:pt idx="449">
                  <c:v>16952</c:v>
                </c:pt>
                <c:pt idx="450">
                  <c:v>17000</c:v>
                </c:pt>
                <c:pt idx="451">
                  <c:v>17048</c:v>
                </c:pt>
                <c:pt idx="452">
                  <c:v>17070</c:v>
                </c:pt>
                <c:pt idx="453">
                  <c:v>17078</c:v>
                </c:pt>
                <c:pt idx="454">
                  <c:v>17121</c:v>
                </c:pt>
                <c:pt idx="455">
                  <c:v>17169</c:v>
                </c:pt>
                <c:pt idx="456">
                  <c:v>17209</c:v>
                </c:pt>
                <c:pt idx="457">
                  <c:v>17241</c:v>
                </c:pt>
                <c:pt idx="458">
                  <c:v>17269</c:v>
                </c:pt>
                <c:pt idx="459">
                  <c:v>17290</c:v>
                </c:pt>
                <c:pt idx="460">
                  <c:v>17299</c:v>
                </c:pt>
                <c:pt idx="461">
                  <c:v>17347</c:v>
                </c:pt>
                <c:pt idx="462">
                  <c:v>17382</c:v>
                </c:pt>
                <c:pt idx="463">
                  <c:v>17416</c:v>
                </c:pt>
                <c:pt idx="464">
                  <c:v>17441</c:v>
                </c:pt>
                <c:pt idx="465">
                  <c:v>17459</c:v>
                </c:pt>
                <c:pt idx="466">
                  <c:v>17472</c:v>
                </c:pt>
                <c:pt idx="467">
                  <c:v>17479</c:v>
                </c:pt>
                <c:pt idx="468">
                  <c:v>17509</c:v>
                </c:pt>
                <c:pt idx="469">
                  <c:v>17545</c:v>
                </c:pt>
                <c:pt idx="470">
                  <c:v>17573</c:v>
                </c:pt>
                <c:pt idx="471">
                  <c:v>17590</c:v>
                </c:pt>
                <c:pt idx="472">
                  <c:v>17604</c:v>
                </c:pt>
                <c:pt idx="473">
                  <c:v>17612</c:v>
                </c:pt>
                <c:pt idx="474">
                  <c:v>17622</c:v>
                </c:pt>
                <c:pt idx="475">
                  <c:v>17647</c:v>
                </c:pt>
                <c:pt idx="476">
                  <c:v>17659</c:v>
                </c:pt>
                <c:pt idx="477">
                  <c:v>17667</c:v>
                </c:pt>
                <c:pt idx="478">
                  <c:v>17671</c:v>
                </c:pt>
                <c:pt idx="479">
                  <c:v>17678</c:v>
                </c:pt>
                <c:pt idx="480">
                  <c:v>17681</c:v>
                </c:pt>
                <c:pt idx="481">
                  <c:v>17685</c:v>
                </c:pt>
                <c:pt idx="482">
                  <c:v>17692</c:v>
                </c:pt>
                <c:pt idx="483">
                  <c:v>17709</c:v>
                </c:pt>
                <c:pt idx="484">
                  <c:v>17717</c:v>
                </c:pt>
                <c:pt idx="485">
                  <c:v>17731</c:v>
                </c:pt>
                <c:pt idx="486">
                  <c:v>17737</c:v>
                </c:pt>
                <c:pt idx="487">
                  <c:v>17737</c:v>
                </c:pt>
                <c:pt idx="488">
                  <c:v>17738</c:v>
                </c:pt>
                <c:pt idx="489">
                  <c:v>17752</c:v>
                </c:pt>
                <c:pt idx="490">
                  <c:v>17770</c:v>
                </c:pt>
                <c:pt idx="491">
                  <c:v>17779</c:v>
                </c:pt>
                <c:pt idx="492">
                  <c:v>17788</c:v>
                </c:pt>
                <c:pt idx="493">
                  <c:v>17794</c:v>
                </c:pt>
                <c:pt idx="494">
                  <c:v>17799</c:v>
                </c:pt>
                <c:pt idx="495">
                  <c:v>17801</c:v>
                </c:pt>
                <c:pt idx="496">
                  <c:v>17813</c:v>
                </c:pt>
                <c:pt idx="497">
                  <c:v>17829</c:v>
                </c:pt>
                <c:pt idx="498">
                  <c:v>17841</c:v>
                </c:pt>
                <c:pt idx="499">
                  <c:v>17856</c:v>
                </c:pt>
                <c:pt idx="500">
                  <c:v>1786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3C3-4558-95C0-65D81E5CAFC4}"/>
            </c:ext>
          </c:extLst>
        </c:ser>
        <c:ser>
          <c:idx val="2"/>
          <c:order val="2"/>
          <c:tx>
            <c:strRef>
              <c:f>List1!$D$1</c:f>
              <c:strCache>
                <c:ptCount val="1"/>
                <c:pt idx="0">
                  <c:v>Celkem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numRef>
              <c:f>List1!$A$2:$A$502</c:f>
              <c:numCache>
                <c:formatCode>m/d/yyyy</c:formatCode>
                <c:ptCount val="501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</c:numCache>
            </c:numRef>
          </c:cat>
          <c:val>
            <c:numRef>
              <c:f>List1!$D$2:$D$502</c:f>
              <c:numCache>
                <c:formatCode>General</c:formatCode>
                <c:ptCount val="501"/>
                <c:pt idx="0">
                  <c:v>7</c:v>
                </c:pt>
                <c:pt idx="1">
                  <c:v>7</c:v>
                </c:pt>
                <c:pt idx="2">
                  <c:v>7</c:v>
                </c:pt>
                <c:pt idx="3">
                  <c:v>10</c:v>
                </c:pt>
                <c:pt idx="4">
                  <c:v>10</c:v>
                </c:pt>
                <c:pt idx="5">
                  <c:v>10</c:v>
                </c:pt>
                <c:pt idx="6">
                  <c:v>10</c:v>
                </c:pt>
                <c:pt idx="7">
                  <c:v>11</c:v>
                </c:pt>
                <c:pt idx="8">
                  <c:v>14</c:v>
                </c:pt>
                <c:pt idx="9">
                  <c:v>15</c:v>
                </c:pt>
                <c:pt idx="10">
                  <c:v>16</c:v>
                </c:pt>
                <c:pt idx="11">
                  <c:v>20</c:v>
                </c:pt>
                <c:pt idx="12">
                  <c:v>21</c:v>
                </c:pt>
                <c:pt idx="13">
                  <c:v>24</c:v>
                </c:pt>
                <c:pt idx="14">
                  <c:v>25</c:v>
                </c:pt>
                <c:pt idx="15">
                  <c:v>27</c:v>
                </c:pt>
                <c:pt idx="16">
                  <c:v>29</c:v>
                </c:pt>
                <c:pt idx="17">
                  <c:v>33</c:v>
                </c:pt>
                <c:pt idx="18">
                  <c:v>35</c:v>
                </c:pt>
                <c:pt idx="19">
                  <c:v>42</c:v>
                </c:pt>
                <c:pt idx="20">
                  <c:v>48</c:v>
                </c:pt>
                <c:pt idx="21">
                  <c:v>52</c:v>
                </c:pt>
                <c:pt idx="22">
                  <c:v>54</c:v>
                </c:pt>
                <c:pt idx="23">
                  <c:v>61</c:v>
                </c:pt>
                <c:pt idx="24">
                  <c:v>74</c:v>
                </c:pt>
                <c:pt idx="25">
                  <c:v>86</c:v>
                </c:pt>
                <c:pt idx="26">
                  <c:v>93</c:v>
                </c:pt>
                <c:pt idx="27">
                  <c:v>100</c:v>
                </c:pt>
                <c:pt idx="28">
                  <c:v>128</c:v>
                </c:pt>
                <c:pt idx="29">
                  <c:v>166</c:v>
                </c:pt>
                <c:pt idx="30">
                  <c:v>227</c:v>
                </c:pt>
                <c:pt idx="31">
                  <c:v>384</c:v>
                </c:pt>
                <c:pt idx="32">
                  <c:v>451</c:v>
                </c:pt>
                <c:pt idx="33">
                  <c:v>535</c:v>
                </c:pt>
                <c:pt idx="34">
                  <c:v>792</c:v>
                </c:pt>
                <c:pt idx="35">
                  <c:v>920</c:v>
                </c:pt>
                <c:pt idx="36">
                  <c:v>1007</c:v>
                </c:pt>
                <c:pt idx="37">
                  <c:v>1170</c:v>
                </c:pt>
                <c:pt idx="38">
                  <c:v>1396</c:v>
                </c:pt>
                <c:pt idx="39">
                  <c:v>1477</c:v>
                </c:pt>
                <c:pt idx="40">
                  <c:v>1513</c:v>
                </c:pt>
                <c:pt idx="41">
                  <c:v>1813</c:v>
                </c:pt>
                <c:pt idx="42">
                  <c:v>2191</c:v>
                </c:pt>
                <c:pt idx="43">
                  <c:v>2564</c:v>
                </c:pt>
                <c:pt idx="44">
                  <c:v>2960</c:v>
                </c:pt>
                <c:pt idx="45">
                  <c:v>3376</c:v>
                </c:pt>
                <c:pt idx="46">
                  <c:v>3637</c:v>
                </c:pt>
                <c:pt idx="47">
                  <c:v>3726</c:v>
                </c:pt>
                <c:pt idx="48">
                  <c:v>4162</c:v>
                </c:pt>
                <c:pt idx="49">
                  <c:v>4555</c:v>
                </c:pt>
                <c:pt idx="50">
                  <c:v>5140</c:v>
                </c:pt>
                <c:pt idx="51">
                  <c:v>5603</c:v>
                </c:pt>
                <c:pt idx="52">
                  <c:v>6354</c:v>
                </c:pt>
                <c:pt idx="53">
                  <c:v>6768</c:v>
                </c:pt>
                <c:pt idx="54">
                  <c:v>7053</c:v>
                </c:pt>
                <c:pt idx="55">
                  <c:v>7817</c:v>
                </c:pt>
                <c:pt idx="56">
                  <c:v>8737</c:v>
                </c:pt>
                <c:pt idx="57">
                  <c:v>9131</c:v>
                </c:pt>
                <c:pt idx="58">
                  <c:v>10141</c:v>
                </c:pt>
                <c:pt idx="59">
                  <c:v>11062</c:v>
                </c:pt>
                <c:pt idx="60">
                  <c:v>11583</c:v>
                </c:pt>
                <c:pt idx="61">
                  <c:v>11911</c:v>
                </c:pt>
                <c:pt idx="62">
                  <c:v>12541</c:v>
                </c:pt>
                <c:pt idx="63">
                  <c:v>13105</c:v>
                </c:pt>
                <c:pt idx="64">
                  <c:v>13862</c:v>
                </c:pt>
                <c:pt idx="65">
                  <c:v>14677</c:v>
                </c:pt>
                <c:pt idx="66">
                  <c:v>15406</c:v>
                </c:pt>
                <c:pt idx="67">
                  <c:v>15737</c:v>
                </c:pt>
                <c:pt idx="68">
                  <c:v>15864</c:v>
                </c:pt>
                <c:pt idx="69">
                  <c:v>16266</c:v>
                </c:pt>
                <c:pt idx="70">
                  <c:v>16856</c:v>
                </c:pt>
                <c:pt idx="71">
                  <c:v>17795</c:v>
                </c:pt>
                <c:pt idx="72">
                  <c:v>18525</c:v>
                </c:pt>
                <c:pt idx="73">
                  <c:v>19210</c:v>
                </c:pt>
                <c:pt idx="74">
                  <c:v>19463</c:v>
                </c:pt>
                <c:pt idx="75">
                  <c:v>19658</c:v>
                </c:pt>
                <c:pt idx="76">
                  <c:v>20221</c:v>
                </c:pt>
                <c:pt idx="77">
                  <c:v>20405</c:v>
                </c:pt>
                <c:pt idx="78">
                  <c:v>20834</c:v>
                </c:pt>
                <c:pt idx="79">
                  <c:v>21232</c:v>
                </c:pt>
                <c:pt idx="80">
                  <c:v>21593</c:v>
                </c:pt>
                <c:pt idx="81">
                  <c:v>21723</c:v>
                </c:pt>
                <c:pt idx="82">
                  <c:v>21831</c:v>
                </c:pt>
                <c:pt idx="83">
                  <c:v>22349</c:v>
                </c:pt>
                <c:pt idx="84">
                  <c:v>22654</c:v>
                </c:pt>
                <c:pt idx="85">
                  <c:v>22873</c:v>
                </c:pt>
                <c:pt idx="86">
                  <c:v>23123</c:v>
                </c:pt>
                <c:pt idx="87">
                  <c:v>23342</c:v>
                </c:pt>
                <c:pt idx="88">
                  <c:v>23443</c:v>
                </c:pt>
                <c:pt idx="89">
                  <c:v>23487</c:v>
                </c:pt>
                <c:pt idx="90">
                  <c:v>23805</c:v>
                </c:pt>
                <c:pt idx="91">
                  <c:v>24014</c:v>
                </c:pt>
                <c:pt idx="92">
                  <c:v>24212</c:v>
                </c:pt>
                <c:pt idx="93">
                  <c:v>24399</c:v>
                </c:pt>
                <c:pt idx="94">
                  <c:v>24630</c:v>
                </c:pt>
                <c:pt idx="95">
                  <c:v>24758</c:v>
                </c:pt>
                <c:pt idx="96">
                  <c:v>24803</c:v>
                </c:pt>
                <c:pt idx="97">
                  <c:v>25065</c:v>
                </c:pt>
                <c:pt idx="98">
                  <c:v>25230</c:v>
                </c:pt>
                <c:pt idx="99">
                  <c:v>25434</c:v>
                </c:pt>
                <c:pt idx="100">
                  <c:v>25576</c:v>
                </c:pt>
                <c:pt idx="101">
                  <c:v>25883</c:v>
                </c:pt>
                <c:pt idx="102">
                  <c:v>25971</c:v>
                </c:pt>
                <c:pt idx="103">
                  <c:v>26037</c:v>
                </c:pt>
                <c:pt idx="104">
                  <c:v>26314</c:v>
                </c:pt>
                <c:pt idx="105">
                  <c:v>26518</c:v>
                </c:pt>
                <c:pt idx="106">
                  <c:v>26714</c:v>
                </c:pt>
                <c:pt idx="107">
                  <c:v>26833</c:v>
                </c:pt>
                <c:pt idx="108">
                  <c:v>27138</c:v>
                </c:pt>
                <c:pt idx="109">
                  <c:v>27227</c:v>
                </c:pt>
                <c:pt idx="110">
                  <c:v>27275</c:v>
                </c:pt>
                <c:pt idx="111">
                  <c:v>27612</c:v>
                </c:pt>
                <c:pt idx="112">
                  <c:v>27899</c:v>
                </c:pt>
                <c:pt idx="113">
                  <c:v>28137</c:v>
                </c:pt>
                <c:pt idx="114">
                  <c:v>28183</c:v>
                </c:pt>
                <c:pt idx="115">
                  <c:v>28299</c:v>
                </c:pt>
                <c:pt idx="116">
                  <c:v>28427</c:v>
                </c:pt>
                <c:pt idx="117">
                  <c:v>28572</c:v>
                </c:pt>
                <c:pt idx="118">
                  <c:v>28929</c:v>
                </c:pt>
                <c:pt idx="119">
                  <c:v>29261</c:v>
                </c:pt>
                <c:pt idx="120">
                  <c:v>29517</c:v>
                </c:pt>
                <c:pt idx="121">
                  <c:v>29735</c:v>
                </c:pt>
                <c:pt idx="122">
                  <c:v>29829</c:v>
                </c:pt>
                <c:pt idx="123">
                  <c:v>29948</c:v>
                </c:pt>
                <c:pt idx="124">
                  <c:v>30025</c:v>
                </c:pt>
                <c:pt idx="125">
                  <c:v>30571</c:v>
                </c:pt>
                <c:pt idx="126">
                  <c:v>30870</c:v>
                </c:pt>
                <c:pt idx="127">
                  <c:v>31142</c:v>
                </c:pt>
                <c:pt idx="128">
                  <c:v>31474</c:v>
                </c:pt>
                <c:pt idx="129">
                  <c:v>31781</c:v>
                </c:pt>
                <c:pt idx="130">
                  <c:v>31890</c:v>
                </c:pt>
                <c:pt idx="131">
                  <c:v>31946</c:v>
                </c:pt>
                <c:pt idx="132">
                  <c:v>32416</c:v>
                </c:pt>
                <c:pt idx="133">
                  <c:v>32639</c:v>
                </c:pt>
                <c:pt idx="134">
                  <c:v>32923</c:v>
                </c:pt>
                <c:pt idx="135">
                  <c:v>33073</c:v>
                </c:pt>
                <c:pt idx="136">
                  <c:v>33224</c:v>
                </c:pt>
                <c:pt idx="137">
                  <c:v>33291</c:v>
                </c:pt>
                <c:pt idx="138">
                  <c:v>33362</c:v>
                </c:pt>
                <c:pt idx="139">
                  <c:v>33649</c:v>
                </c:pt>
                <c:pt idx="140">
                  <c:v>33803</c:v>
                </c:pt>
                <c:pt idx="141">
                  <c:v>34021</c:v>
                </c:pt>
                <c:pt idx="142">
                  <c:v>34187</c:v>
                </c:pt>
                <c:pt idx="143">
                  <c:v>34381</c:v>
                </c:pt>
                <c:pt idx="144">
                  <c:v>34461</c:v>
                </c:pt>
                <c:pt idx="145">
                  <c:v>34497</c:v>
                </c:pt>
                <c:pt idx="146">
                  <c:v>34670</c:v>
                </c:pt>
                <c:pt idx="147">
                  <c:v>34787</c:v>
                </c:pt>
                <c:pt idx="148">
                  <c:v>34942</c:v>
                </c:pt>
                <c:pt idx="149">
                  <c:v>35041</c:v>
                </c:pt>
                <c:pt idx="150">
                  <c:v>35124</c:v>
                </c:pt>
                <c:pt idx="151">
                  <c:v>35203</c:v>
                </c:pt>
                <c:pt idx="152">
                  <c:v>35221</c:v>
                </c:pt>
                <c:pt idx="153">
                  <c:v>35407</c:v>
                </c:pt>
                <c:pt idx="154">
                  <c:v>35570</c:v>
                </c:pt>
                <c:pt idx="155">
                  <c:v>35731</c:v>
                </c:pt>
                <c:pt idx="156">
                  <c:v>35856</c:v>
                </c:pt>
                <c:pt idx="157">
                  <c:v>35988</c:v>
                </c:pt>
                <c:pt idx="158">
                  <c:v>36042</c:v>
                </c:pt>
                <c:pt idx="159">
                  <c:v>36075</c:v>
                </c:pt>
                <c:pt idx="160">
                  <c:v>36211</c:v>
                </c:pt>
                <c:pt idx="161">
                  <c:v>36298</c:v>
                </c:pt>
                <c:pt idx="162">
                  <c:v>36399</c:v>
                </c:pt>
                <c:pt idx="163">
                  <c:v>36503</c:v>
                </c:pt>
                <c:pt idx="164">
                  <c:v>36594</c:v>
                </c:pt>
                <c:pt idx="165">
                  <c:v>36617</c:v>
                </c:pt>
                <c:pt idx="166">
                  <c:v>36640</c:v>
                </c:pt>
                <c:pt idx="167">
                  <c:v>36740</c:v>
                </c:pt>
                <c:pt idx="168">
                  <c:v>36790</c:v>
                </c:pt>
                <c:pt idx="169">
                  <c:v>36856</c:v>
                </c:pt>
                <c:pt idx="170">
                  <c:v>36912</c:v>
                </c:pt>
                <c:pt idx="171">
                  <c:v>36974</c:v>
                </c:pt>
                <c:pt idx="172">
                  <c:v>36998</c:v>
                </c:pt>
                <c:pt idx="173">
                  <c:v>37021</c:v>
                </c:pt>
                <c:pt idx="174">
                  <c:v>37185</c:v>
                </c:pt>
                <c:pt idx="175">
                  <c:v>37266</c:v>
                </c:pt>
                <c:pt idx="176">
                  <c:v>37334</c:v>
                </c:pt>
                <c:pt idx="177">
                  <c:v>37413</c:v>
                </c:pt>
                <c:pt idx="178">
                  <c:v>37498</c:v>
                </c:pt>
                <c:pt idx="179">
                  <c:v>37516</c:v>
                </c:pt>
                <c:pt idx="180">
                  <c:v>37528</c:v>
                </c:pt>
                <c:pt idx="181">
                  <c:v>37663</c:v>
                </c:pt>
                <c:pt idx="182">
                  <c:v>37730</c:v>
                </c:pt>
                <c:pt idx="183">
                  <c:v>37832</c:v>
                </c:pt>
                <c:pt idx="184">
                  <c:v>37882</c:v>
                </c:pt>
                <c:pt idx="185">
                  <c:v>37933</c:v>
                </c:pt>
                <c:pt idx="186">
                  <c:v>37952</c:v>
                </c:pt>
                <c:pt idx="187">
                  <c:v>37967</c:v>
                </c:pt>
                <c:pt idx="188">
                  <c:v>38056</c:v>
                </c:pt>
                <c:pt idx="189">
                  <c:v>38172</c:v>
                </c:pt>
                <c:pt idx="190">
                  <c:v>38257</c:v>
                </c:pt>
                <c:pt idx="191">
                  <c:v>38295</c:v>
                </c:pt>
                <c:pt idx="192">
                  <c:v>38338</c:v>
                </c:pt>
                <c:pt idx="193">
                  <c:v>38358</c:v>
                </c:pt>
                <c:pt idx="194">
                  <c:v>38371</c:v>
                </c:pt>
                <c:pt idx="195">
                  <c:v>38437</c:v>
                </c:pt>
                <c:pt idx="196">
                  <c:v>38480</c:v>
                </c:pt>
                <c:pt idx="197">
                  <c:v>38511</c:v>
                </c:pt>
                <c:pt idx="198">
                  <c:v>38564</c:v>
                </c:pt>
                <c:pt idx="199">
                  <c:v>38602</c:v>
                </c:pt>
                <c:pt idx="200">
                  <c:v>38612</c:v>
                </c:pt>
                <c:pt idx="201">
                  <c:v>38620</c:v>
                </c:pt>
                <c:pt idx="202">
                  <c:v>38665</c:v>
                </c:pt>
                <c:pt idx="203">
                  <c:v>38713</c:v>
                </c:pt>
                <c:pt idx="204">
                  <c:v>38743</c:v>
                </c:pt>
                <c:pt idx="205">
                  <c:v>38782</c:v>
                </c:pt>
                <c:pt idx="206">
                  <c:v>38804</c:v>
                </c:pt>
                <c:pt idx="207">
                  <c:v>38810</c:v>
                </c:pt>
                <c:pt idx="208">
                  <c:v>38815</c:v>
                </c:pt>
                <c:pt idx="209">
                  <c:v>38855</c:v>
                </c:pt>
                <c:pt idx="210">
                  <c:v>38880</c:v>
                </c:pt>
                <c:pt idx="211">
                  <c:v>38902</c:v>
                </c:pt>
                <c:pt idx="212">
                  <c:v>38923</c:v>
                </c:pt>
                <c:pt idx="213">
                  <c:v>38929</c:v>
                </c:pt>
                <c:pt idx="214">
                  <c:v>38935</c:v>
                </c:pt>
                <c:pt idx="215">
                  <c:v>38939</c:v>
                </c:pt>
                <c:pt idx="216">
                  <c:v>38945</c:v>
                </c:pt>
                <c:pt idx="217">
                  <c:v>38972</c:v>
                </c:pt>
                <c:pt idx="218">
                  <c:v>39006</c:v>
                </c:pt>
                <c:pt idx="219">
                  <c:v>39023</c:v>
                </c:pt>
                <c:pt idx="220">
                  <c:v>39034</c:v>
                </c:pt>
                <c:pt idx="221">
                  <c:v>39040</c:v>
                </c:pt>
                <c:pt idx="222">
                  <c:v>39041</c:v>
                </c:pt>
                <c:pt idx="223">
                  <c:v>39050</c:v>
                </c:pt>
                <c:pt idx="224">
                  <c:v>39058</c:v>
                </c:pt>
                <c:pt idx="225">
                  <c:v>39063</c:v>
                </c:pt>
                <c:pt idx="226">
                  <c:v>39072</c:v>
                </c:pt>
                <c:pt idx="227">
                  <c:v>39079</c:v>
                </c:pt>
                <c:pt idx="228">
                  <c:v>39081</c:v>
                </c:pt>
                <c:pt idx="229">
                  <c:v>39083</c:v>
                </c:pt>
                <c:pt idx="230">
                  <c:v>39098</c:v>
                </c:pt>
                <c:pt idx="231">
                  <c:v>39105</c:v>
                </c:pt>
                <c:pt idx="232">
                  <c:v>39112</c:v>
                </c:pt>
                <c:pt idx="233">
                  <c:v>39125</c:v>
                </c:pt>
                <c:pt idx="234">
                  <c:v>39132</c:v>
                </c:pt>
                <c:pt idx="235">
                  <c:v>39134</c:v>
                </c:pt>
                <c:pt idx="236">
                  <c:v>39134</c:v>
                </c:pt>
                <c:pt idx="237">
                  <c:v>39143</c:v>
                </c:pt>
                <c:pt idx="238">
                  <c:v>39153</c:v>
                </c:pt>
                <c:pt idx="239">
                  <c:v>39156</c:v>
                </c:pt>
                <c:pt idx="240">
                  <c:v>39160</c:v>
                </c:pt>
                <c:pt idx="241">
                  <c:v>39166</c:v>
                </c:pt>
                <c:pt idx="242">
                  <c:v>39166</c:v>
                </c:pt>
                <c:pt idx="243">
                  <c:v>39167</c:v>
                </c:pt>
                <c:pt idx="244">
                  <c:v>39169</c:v>
                </c:pt>
                <c:pt idx="245">
                  <c:v>39171</c:v>
                </c:pt>
                <c:pt idx="246">
                  <c:v>39174</c:v>
                </c:pt>
                <c:pt idx="247">
                  <c:v>39179</c:v>
                </c:pt>
                <c:pt idx="248">
                  <c:v>39182</c:v>
                </c:pt>
                <c:pt idx="249">
                  <c:v>39183</c:v>
                </c:pt>
                <c:pt idx="250">
                  <c:v>39186</c:v>
                </c:pt>
                <c:pt idx="251">
                  <c:v>39192</c:v>
                </c:pt>
                <c:pt idx="252">
                  <c:v>39198</c:v>
                </c:pt>
                <c:pt idx="253">
                  <c:v>39198</c:v>
                </c:pt>
                <c:pt idx="254">
                  <c:v>39202</c:v>
                </c:pt>
                <c:pt idx="255">
                  <c:v>39206</c:v>
                </c:pt>
                <c:pt idx="256">
                  <c:v>39207</c:v>
                </c:pt>
                <c:pt idx="257">
                  <c:v>39207</c:v>
                </c:pt>
                <c:pt idx="258">
                  <c:v>39215</c:v>
                </c:pt>
                <c:pt idx="259">
                  <c:v>39219</c:v>
                </c:pt>
                <c:pt idx="260">
                  <c:v>39223</c:v>
                </c:pt>
                <c:pt idx="261">
                  <c:v>39226</c:v>
                </c:pt>
                <c:pt idx="262">
                  <c:v>39227</c:v>
                </c:pt>
                <c:pt idx="263">
                  <c:v>39227</c:v>
                </c:pt>
                <c:pt idx="264">
                  <c:v>39227</c:v>
                </c:pt>
                <c:pt idx="265">
                  <c:v>39231</c:v>
                </c:pt>
                <c:pt idx="266">
                  <c:v>39232</c:v>
                </c:pt>
                <c:pt idx="267">
                  <c:v>39233</c:v>
                </c:pt>
                <c:pt idx="268">
                  <c:v>39234</c:v>
                </c:pt>
                <c:pt idx="269">
                  <c:v>39234</c:v>
                </c:pt>
                <c:pt idx="270">
                  <c:v>39234</c:v>
                </c:pt>
                <c:pt idx="271">
                  <c:v>39234</c:v>
                </c:pt>
                <c:pt idx="272">
                  <c:v>39234</c:v>
                </c:pt>
                <c:pt idx="273">
                  <c:v>39234</c:v>
                </c:pt>
                <c:pt idx="274">
                  <c:v>39237</c:v>
                </c:pt>
                <c:pt idx="275">
                  <c:v>39239</c:v>
                </c:pt>
                <c:pt idx="276">
                  <c:v>39239</c:v>
                </c:pt>
                <c:pt idx="277">
                  <c:v>39239</c:v>
                </c:pt>
                <c:pt idx="278">
                  <c:v>39239</c:v>
                </c:pt>
                <c:pt idx="279">
                  <c:v>39239</c:v>
                </c:pt>
                <c:pt idx="280">
                  <c:v>39239</c:v>
                </c:pt>
                <c:pt idx="281">
                  <c:v>39239</c:v>
                </c:pt>
                <c:pt idx="282">
                  <c:v>39239</c:v>
                </c:pt>
                <c:pt idx="283">
                  <c:v>39240</c:v>
                </c:pt>
                <c:pt idx="284">
                  <c:v>39240</c:v>
                </c:pt>
                <c:pt idx="285">
                  <c:v>39240</c:v>
                </c:pt>
                <c:pt idx="286">
                  <c:v>39240</c:v>
                </c:pt>
                <c:pt idx="287">
                  <c:v>39240</c:v>
                </c:pt>
                <c:pt idx="288">
                  <c:v>39240</c:v>
                </c:pt>
                <c:pt idx="289">
                  <c:v>39241</c:v>
                </c:pt>
                <c:pt idx="290">
                  <c:v>39241</c:v>
                </c:pt>
                <c:pt idx="291">
                  <c:v>39241</c:v>
                </c:pt>
                <c:pt idx="292">
                  <c:v>39241</c:v>
                </c:pt>
                <c:pt idx="293">
                  <c:v>39241</c:v>
                </c:pt>
                <c:pt idx="294">
                  <c:v>39241</c:v>
                </c:pt>
                <c:pt idx="295">
                  <c:v>39242</c:v>
                </c:pt>
                <c:pt idx="296">
                  <c:v>39243</c:v>
                </c:pt>
                <c:pt idx="297">
                  <c:v>39243</c:v>
                </c:pt>
                <c:pt idx="298">
                  <c:v>39243</c:v>
                </c:pt>
                <c:pt idx="299">
                  <c:v>39243</c:v>
                </c:pt>
                <c:pt idx="300">
                  <c:v>39243</c:v>
                </c:pt>
                <c:pt idx="301">
                  <c:v>39243</c:v>
                </c:pt>
                <c:pt idx="302">
                  <c:v>39244</c:v>
                </c:pt>
                <c:pt idx="303">
                  <c:v>39245</c:v>
                </c:pt>
                <c:pt idx="304">
                  <c:v>39245</c:v>
                </c:pt>
                <c:pt idx="305">
                  <c:v>39245</c:v>
                </c:pt>
                <c:pt idx="306">
                  <c:v>39246</c:v>
                </c:pt>
                <c:pt idx="307">
                  <c:v>39246</c:v>
                </c:pt>
                <c:pt idx="308">
                  <c:v>39246</c:v>
                </c:pt>
                <c:pt idx="309">
                  <c:v>39246</c:v>
                </c:pt>
                <c:pt idx="310">
                  <c:v>39247</c:v>
                </c:pt>
                <c:pt idx="311">
                  <c:v>39247</c:v>
                </c:pt>
                <c:pt idx="312">
                  <c:v>39247</c:v>
                </c:pt>
                <c:pt idx="313">
                  <c:v>39248</c:v>
                </c:pt>
                <c:pt idx="314">
                  <c:v>39248</c:v>
                </c:pt>
                <c:pt idx="315">
                  <c:v>39248</c:v>
                </c:pt>
                <c:pt idx="316">
                  <c:v>39248</c:v>
                </c:pt>
                <c:pt idx="317">
                  <c:v>39248</c:v>
                </c:pt>
                <c:pt idx="318">
                  <c:v>39248</c:v>
                </c:pt>
                <c:pt idx="319">
                  <c:v>39248</c:v>
                </c:pt>
                <c:pt idx="320">
                  <c:v>39248</c:v>
                </c:pt>
                <c:pt idx="321">
                  <c:v>39248</c:v>
                </c:pt>
                <c:pt idx="322">
                  <c:v>39248</c:v>
                </c:pt>
                <c:pt idx="323">
                  <c:v>39249</c:v>
                </c:pt>
                <c:pt idx="324">
                  <c:v>39249</c:v>
                </c:pt>
                <c:pt idx="325">
                  <c:v>39249</c:v>
                </c:pt>
                <c:pt idx="326">
                  <c:v>39250</c:v>
                </c:pt>
                <c:pt idx="327">
                  <c:v>39250</c:v>
                </c:pt>
                <c:pt idx="328">
                  <c:v>39250</c:v>
                </c:pt>
                <c:pt idx="329">
                  <c:v>39251</c:v>
                </c:pt>
                <c:pt idx="330">
                  <c:v>39253</c:v>
                </c:pt>
                <c:pt idx="331">
                  <c:v>39253</c:v>
                </c:pt>
                <c:pt idx="332">
                  <c:v>39253</c:v>
                </c:pt>
                <c:pt idx="333">
                  <c:v>39253</c:v>
                </c:pt>
                <c:pt idx="334">
                  <c:v>39253</c:v>
                </c:pt>
                <c:pt idx="335">
                  <c:v>39253</c:v>
                </c:pt>
                <c:pt idx="336">
                  <c:v>39253</c:v>
                </c:pt>
                <c:pt idx="337">
                  <c:v>39253</c:v>
                </c:pt>
                <c:pt idx="338">
                  <c:v>39253</c:v>
                </c:pt>
                <c:pt idx="339">
                  <c:v>39253</c:v>
                </c:pt>
                <c:pt idx="340">
                  <c:v>39253</c:v>
                </c:pt>
                <c:pt idx="341">
                  <c:v>39254</c:v>
                </c:pt>
                <c:pt idx="342">
                  <c:v>39254</c:v>
                </c:pt>
                <c:pt idx="343">
                  <c:v>39254</c:v>
                </c:pt>
                <c:pt idx="344">
                  <c:v>39255</c:v>
                </c:pt>
                <c:pt idx="345">
                  <c:v>39255</c:v>
                </c:pt>
                <c:pt idx="346">
                  <c:v>39255</c:v>
                </c:pt>
                <c:pt idx="347">
                  <c:v>39255</c:v>
                </c:pt>
                <c:pt idx="348">
                  <c:v>39255</c:v>
                </c:pt>
                <c:pt idx="349">
                  <c:v>39256</c:v>
                </c:pt>
                <c:pt idx="350">
                  <c:v>39257</c:v>
                </c:pt>
                <c:pt idx="351">
                  <c:v>39257</c:v>
                </c:pt>
                <c:pt idx="352">
                  <c:v>39258</c:v>
                </c:pt>
                <c:pt idx="353">
                  <c:v>39258</c:v>
                </c:pt>
                <c:pt idx="354">
                  <c:v>39258</c:v>
                </c:pt>
                <c:pt idx="355">
                  <c:v>39258</c:v>
                </c:pt>
                <c:pt idx="356">
                  <c:v>39261</c:v>
                </c:pt>
                <c:pt idx="357">
                  <c:v>39261</c:v>
                </c:pt>
                <c:pt idx="358">
                  <c:v>39261</c:v>
                </c:pt>
                <c:pt idx="359">
                  <c:v>39262</c:v>
                </c:pt>
                <c:pt idx="360">
                  <c:v>39263</c:v>
                </c:pt>
                <c:pt idx="361">
                  <c:v>39264</c:v>
                </c:pt>
                <c:pt idx="362">
                  <c:v>39264</c:v>
                </c:pt>
                <c:pt idx="363">
                  <c:v>39264</c:v>
                </c:pt>
                <c:pt idx="364">
                  <c:v>39264</c:v>
                </c:pt>
                <c:pt idx="365">
                  <c:v>39268</c:v>
                </c:pt>
                <c:pt idx="366">
                  <c:v>39273</c:v>
                </c:pt>
                <c:pt idx="367">
                  <c:v>39276</c:v>
                </c:pt>
                <c:pt idx="368">
                  <c:v>39277</c:v>
                </c:pt>
                <c:pt idx="369">
                  <c:v>39277</c:v>
                </c:pt>
                <c:pt idx="370">
                  <c:v>39282</c:v>
                </c:pt>
                <c:pt idx="371">
                  <c:v>39284</c:v>
                </c:pt>
                <c:pt idx="372">
                  <c:v>39285</c:v>
                </c:pt>
                <c:pt idx="373">
                  <c:v>39287</c:v>
                </c:pt>
                <c:pt idx="374">
                  <c:v>39287</c:v>
                </c:pt>
                <c:pt idx="375">
                  <c:v>39287</c:v>
                </c:pt>
                <c:pt idx="376">
                  <c:v>39288</c:v>
                </c:pt>
                <c:pt idx="377">
                  <c:v>39289</c:v>
                </c:pt>
                <c:pt idx="378">
                  <c:v>39290</c:v>
                </c:pt>
                <c:pt idx="379">
                  <c:v>39290</c:v>
                </c:pt>
                <c:pt idx="380">
                  <c:v>39290</c:v>
                </c:pt>
                <c:pt idx="381">
                  <c:v>39290</c:v>
                </c:pt>
                <c:pt idx="382">
                  <c:v>39291</c:v>
                </c:pt>
                <c:pt idx="383">
                  <c:v>39291</c:v>
                </c:pt>
                <c:pt idx="384">
                  <c:v>39296</c:v>
                </c:pt>
                <c:pt idx="385">
                  <c:v>39304</c:v>
                </c:pt>
                <c:pt idx="386">
                  <c:v>39307</c:v>
                </c:pt>
                <c:pt idx="387">
                  <c:v>39307</c:v>
                </c:pt>
                <c:pt idx="388">
                  <c:v>39307</c:v>
                </c:pt>
                <c:pt idx="389">
                  <c:v>39308</c:v>
                </c:pt>
                <c:pt idx="390">
                  <c:v>39309</c:v>
                </c:pt>
                <c:pt idx="391">
                  <c:v>39316</c:v>
                </c:pt>
                <c:pt idx="392">
                  <c:v>39318</c:v>
                </c:pt>
                <c:pt idx="393">
                  <c:v>39326</c:v>
                </c:pt>
                <c:pt idx="394">
                  <c:v>39329</c:v>
                </c:pt>
                <c:pt idx="395">
                  <c:v>39332</c:v>
                </c:pt>
                <c:pt idx="396">
                  <c:v>39333</c:v>
                </c:pt>
                <c:pt idx="397">
                  <c:v>39334</c:v>
                </c:pt>
                <c:pt idx="398">
                  <c:v>39339</c:v>
                </c:pt>
                <c:pt idx="399">
                  <c:v>39346</c:v>
                </c:pt>
                <c:pt idx="400">
                  <c:v>39359</c:v>
                </c:pt>
                <c:pt idx="401">
                  <c:v>39362</c:v>
                </c:pt>
                <c:pt idx="402">
                  <c:v>39389</c:v>
                </c:pt>
                <c:pt idx="403">
                  <c:v>39391</c:v>
                </c:pt>
                <c:pt idx="404">
                  <c:v>39391</c:v>
                </c:pt>
                <c:pt idx="405">
                  <c:v>39394</c:v>
                </c:pt>
                <c:pt idx="406">
                  <c:v>39397</c:v>
                </c:pt>
                <c:pt idx="407">
                  <c:v>39418</c:v>
                </c:pt>
                <c:pt idx="408">
                  <c:v>39424</c:v>
                </c:pt>
                <c:pt idx="409">
                  <c:v>39432</c:v>
                </c:pt>
                <c:pt idx="410">
                  <c:v>39434</c:v>
                </c:pt>
                <c:pt idx="411">
                  <c:v>39435</c:v>
                </c:pt>
                <c:pt idx="412">
                  <c:v>39453</c:v>
                </c:pt>
                <c:pt idx="413">
                  <c:v>39466</c:v>
                </c:pt>
                <c:pt idx="414">
                  <c:v>39479</c:v>
                </c:pt>
                <c:pt idx="415">
                  <c:v>39488</c:v>
                </c:pt>
                <c:pt idx="416">
                  <c:v>39503</c:v>
                </c:pt>
                <c:pt idx="417">
                  <c:v>39504</c:v>
                </c:pt>
                <c:pt idx="418">
                  <c:v>39508</c:v>
                </c:pt>
                <c:pt idx="419">
                  <c:v>39541</c:v>
                </c:pt>
                <c:pt idx="420">
                  <c:v>39555</c:v>
                </c:pt>
                <c:pt idx="421">
                  <c:v>39583</c:v>
                </c:pt>
                <c:pt idx="422">
                  <c:v>39586</c:v>
                </c:pt>
                <c:pt idx="423">
                  <c:v>39612</c:v>
                </c:pt>
                <c:pt idx="424">
                  <c:v>39624</c:v>
                </c:pt>
                <c:pt idx="425">
                  <c:v>39639</c:v>
                </c:pt>
                <c:pt idx="426">
                  <c:v>39715</c:v>
                </c:pt>
                <c:pt idx="427">
                  <c:v>39753</c:v>
                </c:pt>
                <c:pt idx="428">
                  <c:v>39788</c:v>
                </c:pt>
                <c:pt idx="429">
                  <c:v>39864</c:v>
                </c:pt>
                <c:pt idx="430">
                  <c:v>39914</c:v>
                </c:pt>
                <c:pt idx="431">
                  <c:v>39933</c:v>
                </c:pt>
                <c:pt idx="432">
                  <c:v>39943</c:v>
                </c:pt>
                <c:pt idx="433">
                  <c:v>40023</c:v>
                </c:pt>
                <c:pt idx="434">
                  <c:v>40077</c:v>
                </c:pt>
                <c:pt idx="435">
                  <c:v>40121</c:v>
                </c:pt>
                <c:pt idx="436">
                  <c:v>40175</c:v>
                </c:pt>
                <c:pt idx="437">
                  <c:v>40226</c:v>
                </c:pt>
                <c:pt idx="438">
                  <c:v>40259</c:v>
                </c:pt>
                <c:pt idx="439">
                  <c:v>40287</c:v>
                </c:pt>
                <c:pt idx="440">
                  <c:v>40385</c:v>
                </c:pt>
                <c:pt idx="441">
                  <c:v>40450</c:v>
                </c:pt>
                <c:pt idx="442">
                  <c:v>40486</c:v>
                </c:pt>
                <c:pt idx="443">
                  <c:v>40583</c:v>
                </c:pt>
                <c:pt idx="444">
                  <c:v>40719</c:v>
                </c:pt>
                <c:pt idx="445">
                  <c:v>40756</c:v>
                </c:pt>
                <c:pt idx="446">
                  <c:v>40772</c:v>
                </c:pt>
                <c:pt idx="447">
                  <c:v>40888</c:v>
                </c:pt>
                <c:pt idx="448">
                  <c:v>40955</c:v>
                </c:pt>
                <c:pt idx="449">
                  <c:v>41041</c:v>
                </c:pt>
                <c:pt idx="450">
                  <c:v>41118</c:v>
                </c:pt>
                <c:pt idx="451">
                  <c:v>41218</c:v>
                </c:pt>
                <c:pt idx="452">
                  <c:v>41245</c:v>
                </c:pt>
                <c:pt idx="453">
                  <c:v>41260</c:v>
                </c:pt>
                <c:pt idx="454">
                  <c:v>41345</c:v>
                </c:pt>
                <c:pt idx="455">
                  <c:v>41407</c:v>
                </c:pt>
                <c:pt idx="456">
                  <c:v>41477</c:v>
                </c:pt>
                <c:pt idx="457">
                  <c:v>41540</c:v>
                </c:pt>
                <c:pt idx="458">
                  <c:v>41581</c:v>
                </c:pt>
                <c:pt idx="459">
                  <c:v>41640</c:v>
                </c:pt>
                <c:pt idx="460">
                  <c:v>41655</c:v>
                </c:pt>
                <c:pt idx="461">
                  <c:v>41732</c:v>
                </c:pt>
                <c:pt idx="462">
                  <c:v>41790</c:v>
                </c:pt>
                <c:pt idx="463">
                  <c:v>41842</c:v>
                </c:pt>
                <c:pt idx="464">
                  <c:v>41898</c:v>
                </c:pt>
                <c:pt idx="465">
                  <c:v>41944</c:v>
                </c:pt>
                <c:pt idx="466">
                  <c:v>41963</c:v>
                </c:pt>
                <c:pt idx="467">
                  <c:v>41970</c:v>
                </c:pt>
                <c:pt idx="468">
                  <c:v>42016</c:v>
                </c:pt>
                <c:pt idx="469">
                  <c:v>42079</c:v>
                </c:pt>
                <c:pt idx="470">
                  <c:v>42122</c:v>
                </c:pt>
                <c:pt idx="471">
                  <c:v>42146</c:v>
                </c:pt>
                <c:pt idx="472">
                  <c:v>42172</c:v>
                </c:pt>
                <c:pt idx="473">
                  <c:v>42182</c:v>
                </c:pt>
                <c:pt idx="474">
                  <c:v>42195</c:v>
                </c:pt>
                <c:pt idx="475">
                  <c:v>42234</c:v>
                </c:pt>
                <c:pt idx="476">
                  <c:v>42254</c:v>
                </c:pt>
                <c:pt idx="477">
                  <c:v>42265</c:v>
                </c:pt>
                <c:pt idx="478">
                  <c:v>42274</c:v>
                </c:pt>
                <c:pt idx="479">
                  <c:v>42281</c:v>
                </c:pt>
                <c:pt idx="480">
                  <c:v>42289</c:v>
                </c:pt>
                <c:pt idx="481">
                  <c:v>42293</c:v>
                </c:pt>
                <c:pt idx="482">
                  <c:v>42310</c:v>
                </c:pt>
                <c:pt idx="483">
                  <c:v>42333</c:v>
                </c:pt>
                <c:pt idx="484">
                  <c:v>42346</c:v>
                </c:pt>
                <c:pt idx="485">
                  <c:v>42362</c:v>
                </c:pt>
                <c:pt idx="486">
                  <c:v>42377</c:v>
                </c:pt>
                <c:pt idx="487">
                  <c:v>42378</c:v>
                </c:pt>
                <c:pt idx="488">
                  <c:v>42379</c:v>
                </c:pt>
                <c:pt idx="489">
                  <c:v>42396</c:v>
                </c:pt>
                <c:pt idx="490">
                  <c:v>42420</c:v>
                </c:pt>
                <c:pt idx="491">
                  <c:v>42435</c:v>
                </c:pt>
                <c:pt idx="492">
                  <c:v>42450</c:v>
                </c:pt>
                <c:pt idx="493">
                  <c:v>42464</c:v>
                </c:pt>
                <c:pt idx="494">
                  <c:v>42469</c:v>
                </c:pt>
                <c:pt idx="495">
                  <c:v>42472</c:v>
                </c:pt>
                <c:pt idx="496">
                  <c:v>42484</c:v>
                </c:pt>
                <c:pt idx="497">
                  <c:v>42504</c:v>
                </c:pt>
                <c:pt idx="498">
                  <c:v>42525</c:v>
                </c:pt>
                <c:pt idx="499">
                  <c:v>42545</c:v>
                </c:pt>
                <c:pt idx="500">
                  <c:v>4255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3C3-4558-95C0-65D81E5CAFC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764139039"/>
        <c:axId val="595872255"/>
      </c:lineChart>
      <c:dateAx>
        <c:axId val="764139039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95872255"/>
        <c:crosses val="autoZero"/>
        <c:auto val="1"/>
        <c:lblOffset val="100"/>
        <c:baseTimeUnit val="days"/>
      </c:dateAx>
      <c:valAx>
        <c:axId val="595872255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solidFill>
            <a:schemeClr val="bg1"/>
          </a:solidFill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764139039"/>
        <c:crosses val="autoZero"/>
        <c:crossBetween val="midCat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cs-CZ" dirty="0"/>
              <a:t>Prevalence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Klienti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List1!$A$2:$A$502</c:f>
              <c:numCache>
                <c:formatCode>m/d/yyyy</c:formatCode>
                <c:ptCount val="501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</c:numCache>
            </c:numRef>
          </c:cat>
          <c:val>
            <c:numRef>
              <c:f>List1!$B$2:$B$502</c:f>
              <c:numCache>
                <c:formatCode>General</c:formatCode>
                <c:ptCount val="501"/>
                <c:pt idx="0">
                  <c:v>6</c:v>
                </c:pt>
                <c:pt idx="1">
                  <c:v>6</c:v>
                </c:pt>
                <c:pt idx="2">
                  <c:v>6</c:v>
                </c:pt>
                <c:pt idx="3">
                  <c:v>6</c:v>
                </c:pt>
                <c:pt idx="4">
                  <c:v>6</c:v>
                </c:pt>
                <c:pt idx="5">
                  <c:v>6</c:v>
                </c:pt>
                <c:pt idx="6">
                  <c:v>6</c:v>
                </c:pt>
                <c:pt idx="7">
                  <c:v>7</c:v>
                </c:pt>
                <c:pt idx="8">
                  <c:v>7</c:v>
                </c:pt>
                <c:pt idx="9">
                  <c:v>6</c:v>
                </c:pt>
                <c:pt idx="10">
                  <c:v>6</c:v>
                </c:pt>
                <c:pt idx="11">
                  <c:v>9</c:v>
                </c:pt>
                <c:pt idx="12">
                  <c:v>1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2</c:v>
                </c:pt>
                <c:pt idx="18">
                  <c:v>1</c:v>
                </c:pt>
                <c:pt idx="19">
                  <c:v>3</c:v>
                </c:pt>
                <c:pt idx="20">
                  <c:v>1</c:v>
                </c:pt>
                <c:pt idx="21">
                  <c:v>0</c:v>
                </c:pt>
                <c:pt idx="22">
                  <c:v>1</c:v>
                </c:pt>
                <c:pt idx="23">
                  <c:v>4</c:v>
                </c:pt>
                <c:pt idx="24">
                  <c:v>2</c:v>
                </c:pt>
                <c:pt idx="25">
                  <c:v>7</c:v>
                </c:pt>
                <c:pt idx="26">
                  <c:v>7</c:v>
                </c:pt>
                <c:pt idx="27">
                  <c:v>7</c:v>
                </c:pt>
                <c:pt idx="28">
                  <c:v>11</c:v>
                </c:pt>
                <c:pt idx="29">
                  <c:v>38</c:v>
                </c:pt>
                <c:pt idx="30">
                  <c:v>67</c:v>
                </c:pt>
                <c:pt idx="31">
                  <c:v>122</c:v>
                </c:pt>
                <c:pt idx="32">
                  <c:v>157</c:v>
                </c:pt>
                <c:pt idx="33">
                  <c:v>209</c:v>
                </c:pt>
                <c:pt idx="34">
                  <c:v>366</c:v>
                </c:pt>
                <c:pt idx="35">
                  <c:v>437</c:v>
                </c:pt>
                <c:pt idx="36">
                  <c:v>475</c:v>
                </c:pt>
                <c:pt idx="37">
                  <c:v>543</c:v>
                </c:pt>
                <c:pt idx="38">
                  <c:v>675</c:v>
                </c:pt>
                <c:pt idx="39">
                  <c:v>695</c:v>
                </c:pt>
                <c:pt idx="40">
                  <c:v>662</c:v>
                </c:pt>
                <c:pt idx="41">
                  <c:v>775</c:v>
                </c:pt>
                <c:pt idx="42">
                  <c:v>946</c:v>
                </c:pt>
                <c:pt idx="43">
                  <c:v>1076</c:v>
                </c:pt>
                <c:pt idx="44">
                  <c:v>1246</c:v>
                </c:pt>
                <c:pt idx="45">
                  <c:v>1374</c:v>
                </c:pt>
                <c:pt idx="46">
                  <c:v>1450</c:v>
                </c:pt>
                <c:pt idx="47">
                  <c:v>1404</c:v>
                </c:pt>
                <c:pt idx="48">
                  <c:v>1574</c:v>
                </c:pt>
                <c:pt idx="49">
                  <c:v>1686</c:v>
                </c:pt>
                <c:pt idx="50">
                  <c:v>1964</c:v>
                </c:pt>
                <c:pt idx="51">
                  <c:v>2121</c:v>
                </c:pt>
                <c:pt idx="52">
                  <c:v>2407</c:v>
                </c:pt>
                <c:pt idx="53">
                  <c:v>2489</c:v>
                </c:pt>
                <c:pt idx="54">
                  <c:v>2532</c:v>
                </c:pt>
                <c:pt idx="55">
                  <c:v>2713</c:v>
                </c:pt>
                <c:pt idx="56">
                  <c:v>3043</c:v>
                </c:pt>
                <c:pt idx="57">
                  <c:v>3068</c:v>
                </c:pt>
                <c:pt idx="58">
                  <c:v>3507</c:v>
                </c:pt>
                <c:pt idx="59">
                  <c:v>3802</c:v>
                </c:pt>
                <c:pt idx="60">
                  <c:v>3890</c:v>
                </c:pt>
                <c:pt idx="61">
                  <c:v>3785</c:v>
                </c:pt>
                <c:pt idx="62">
                  <c:v>3848</c:v>
                </c:pt>
                <c:pt idx="63">
                  <c:v>3775</c:v>
                </c:pt>
                <c:pt idx="64">
                  <c:v>3986</c:v>
                </c:pt>
                <c:pt idx="65">
                  <c:v>4317</c:v>
                </c:pt>
                <c:pt idx="66">
                  <c:v>4176</c:v>
                </c:pt>
                <c:pt idx="67">
                  <c:v>3827</c:v>
                </c:pt>
                <c:pt idx="68">
                  <c:v>3746</c:v>
                </c:pt>
                <c:pt idx="69">
                  <c:v>3502</c:v>
                </c:pt>
                <c:pt idx="70">
                  <c:v>3382</c:v>
                </c:pt>
                <c:pt idx="71">
                  <c:v>3801</c:v>
                </c:pt>
                <c:pt idx="72">
                  <c:v>4182</c:v>
                </c:pt>
                <c:pt idx="73">
                  <c:v>4231</c:v>
                </c:pt>
                <c:pt idx="74">
                  <c:v>3889</c:v>
                </c:pt>
                <c:pt idx="75">
                  <c:v>3776</c:v>
                </c:pt>
                <c:pt idx="76">
                  <c:v>3789</c:v>
                </c:pt>
                <c:pt idx="77">
                  <c:v>3575</c:v>
                </c:pt>
                <c:pt idx="78">
                  <c:v>3763</c:v>
                </c:pt>
                <c:pt idx="79">
                  <c:v>3913</c:v>
                </c:pt>
                <c:pt idx="80">
                  <c:v>3970</c:v>
                </c:pt>
                <c:pt idx="81">
                  <c:v>3588</c:v>
                </c:pt>
                <c:pt idx="82">
                  <c:v>3313</c:v>
                </c:pt>
                <c:pt idx="83">
                  <c:v>3437</c:v>
                </c:pt>
                <c:pt idx="84">
                  <c:v>3152</c:v>
                </c:pt>
                <c:pt idx="85">
                  <c:v>3146</c:v>
                </c:pt>
                <c:pt idx="86">
                  <c:v>3240</c:v>
                </c:pt>
                <c:pt idx="87">
                  <c:v>3004</c:v>
                </c:pt>
                <c:pt idx="88">
                  <c:v>2972</c:v>
                </c:pt>
                <c:pt idx="89">
                  <c:v>2714</c:v>
                </c:pt>
                <c:pt idx="90">
                  <c:v>2616</c:v>
                </c:pt>
                <c:pt idx="91">
                  <c:v>2431</c:v>
                </c:pt>
                <c:pt idx="92">
                  <c:v>2463</c:v>
                </c:pt>
                <c:pt idx="93">
                  <c:v>2520</c:v>
                </c:pt>
                <c:pt idx="94">
                  <c:v>2409</c:v>
                </c:pt>
                <c:pt idx="95">
                  <c:v>2241</c:v>
                </c:pt>
                <c:pt idx="96">
                  <c:v>2088</c:v>
                </c:pt>
                <c:pt idx="97">
                  <c:v>2040</c:v>
                </c:pt>
                <c:pt idx="98">
                  <c:v>1895</c:v>
                </c:pt>
                <c:pt idx="99">
                  <c:v>1950</c:v>
                </c:pt>
                <c:pt idx="100">
                  <c:v>2000</c:v>
                </c:pt>
                <c:pt idx="101">
                  <c:v>1988</c:v>
                </c:pt>
                <c:pt idx="102">
                  <c:v>1895</c:v>
                </c:pt>
                <c:pt idx="103">
                  <c:v>1848</c:v>
                </c:pt>
                <c:pt idx="104">
                  <c:v>1859</c:v>
                </c:pt>
                <c:pt idx="105">
                  <c:v>1839</c:v>
                </c:pt>
                <c:pt idx="106">
                  <c:v>1840</c:v>
                </c:pt>
                <c:pt idx="107">
                  <c:v>1844</c:v>
                </c:pt>
                <c:pt idx="108">
                  <c:v>1895</c:v>
                </c:pt>
                <c:pt idx="109">
                  <c:v>1766</c:v>
                </c:pt>
                <c:pt idx="110">
                  <c:v>1699</c:v>
                </c:pt>
                <c:pt idx="111">
                  <c:v>1748</c:v>
                </c:pt>
                <c:pt idx="112">
                  <c:v>1761</c:v>
                </c:pt>
                <c:pt idx="113">
                  <c:v>1784</c:v>
                </c:pt>
                <c:pt idx="114">
                  <c:v>1750</c:v>
                </c:pt>
                <c:pt idx="115">
                  <c:v>1649</c:v>
                </c:pt>
                <c:pt idx="116">
                  <c:v>1624</c:v>
                </c:pt>
                <c:pt idx="117">
                  <c:v>1624</c:v>
                </c:pt>
                <c:pt idx="118">
                  <c:v>1669</c:v>
                </c:pt>
                <c:pt idx="119">
                  <c:v>1716</c:v>
                </c:pt>
                <c:pt idx="120">
                  <c:v>1814</c:v>
                </c:pt>
                <c:pt idx="121">
                  <c:v>1896</c:v>
                </c:pt>
                <c:pt idx="122">
                  <c:v>1762</c:v>
                </c:pt>
                <c:pt idx="123">
                  <c:v>1728</c:v>
                </c:pt>
                <c:pt idx="124">
                  <c:v>1563</c:v>
                </c:pt>
                <c:pt idx="125">
                  <c:v>1794</c:v>
                </c:pt>
                <c:pt idx="126">
                  <c:v>1883</c:v>
                </c:pt>
                <c:pt idx="127">
                  <c:v>1971</c:v>
                </c:pt>
                <c:pt idx="128">
                  <c:v>2113</c:v>
                </c:pt>
                <c:pt idx="129">
                  <c:v>2115</c:v>
                </c:pt>
                <c:pt idx="130">
                  <c:v>1982</c:v>
                </c:pt>
                <c:pt idx="131">
                  <c:v>1836</c:v>
                </c:pt>
                <c:pt idx="132">
                  <c:v>1978</c:v>
                </c:pt>
                <c:pt idx="133">
                  <c:v>2041</c:v>
                </c:pt>
                <c:pt idx="134">
                  <c:v>2145</c:v>
                </c:pt>
                <c:pt idx="135">
                  <c:v>2192</c:v>
                </c:pt>
                <c:pt idx="136">
                  <c:v>2108</c:v>
                </c:pt>
                <c:pt idx="137">
                  <c:v>1913</c:v>
                </c:pt>
                <c:pt idx="138">
                  <c:v>1757</c:v>
                </c:pt>
                <c:pt idx="139">
                  <c:v>1697</c:v>
                </c:pt>
                <c:pt idx="140">
                  <c:v>1584</c:v>
                </c:pt>
                <c:pt idx="141">
                  <c:v>1670</c:v>
                </c:pt>
                <c:pt idx="142">
                  <c:v>1740</c:v>
                </c:pt>
                <c:pt idx="143">
                  <c:v>1610</c:v>
                </c:pt>
                <c:pt idx="144">
                  <c:v>1544</c:v>
                </c:pt>
                <c:pt idx="145">
                  <c:v>1444</c:v>
                </c:pt>
                <c:pt idx="146">
                  <c:v>1404</c:v>
                </c:pt>
                <c:pt idx="147">
                  <c:v>1350</c:v>
                </c:pt>
                <c:pt idx="148">
                  <c:v>1402</c:v>
                </c:pt>
                <c:pt idx="149">
                  <c:v>1439</c:v>
                </c:pt>
                <c:pt idx="150">
                  <c:v>1297</c:v>
                </c:pt>
                <c:pt idx="151">
                  <c:v>1255</c:v>
                </c:pt>
                <c:pt idx="152">
                  <c:v>1118</c:v>
                </c:pt>
                <c:pt idx="153">
                  <c:v>1146</c:v>
                </c:pt>
                <c:pt idx="154">
                  <c:v>1167</c:v>
                </c:pt>
                <c:pt idx="155">
                  <c:v>1222</c:v>
                </c:pt>
                <c:pt idx="156">
                  <c:v>1250</c:v>
                </c:pt>
                <c:pt idx="157">
                  <c:v>1222</c:v>
                </c:pt>
                <c:pt idx="158">
                  <c:v>1161</c:v>
                </c:pt>
                <c:pt idx="159">
                  <c:v>1106</c:v>
                </c:pt>
                <c:pt idx="160">
                  <c:v>1121</c:v>
                </c:pt>
                <c:pt idx="161">
                  <c:v>1115</c:v>
                </c:pt>
                <c:pt idx="162">
                  <c:v>1154</c:v>
                </c:pt>
                <c:pt idx="163">
                  <c:v>1200</c:v>
                </c:pt>
                <c:pt idx="164">
                  <c:v>1165</c:v>
                </c:pt>
                <c:pt idx="165">
                  <c:v>1044</c:v>
                </c:pt>
                <c:pt idx="166">
                  <c:v>952</c:v>
                </c:pt>
                <c:pt idx="167">
                  <c:v>931</c:v>
                </c:pt>
                <c:pt idx="168">
                  <c:v>846</c:v>
                </c:pt>
                <c:pt idx="169">
                  <c:v>825</c:v>
                </c:pt>
                <c:pt idx="170">
                  <c:v>839</c:v>
                </c:pt>
                <c:pt idx="171">
                  <c:v>780</c:v>
                </c:pt>
                <c:pt idx="172">
                  <c:v>719</c:v>
                </c:pt>
                <c:pt idx="173">
                  <c:v>647</c:v>
                </c:pt>
                <c:pt idx="174">
                  <c:v>690</c:v>
                </c:pt>
                <c:pt idx="175">
                  <c:v>665</c:v>
                </c:pt>
                <c:pt idx="176">
                  <c:v>675</c:v>
                </c:pt>
                <c:pt idx="177">
                  <c:v>705</c:v>
                </c:pt>
                <c:pt idx="178">
                  <c:v>693</c:v>
                </c:pt>
                <c:pt idx="179">
                  <c:v>661</c:v>
                </c:pt>
                <c:pt idx="180">
                  <c:v>642</c:v>
                </c:pt>
                <c:pt idx="181">
                  <c:v>690</c:v>
                </c:pt>
                <c:pt idx="182">
                  <c:v>656</c:v>
                </c:pt>
                <c:pt idx="183">
                  <c:v>663</c:v>
                </c:pt>
                <c:pt idx="184">
                  <c:v>656</c:v>
                </c:pt>
                <c:pt idx="185">
                  <c:v>589</c:v>
                </c:pt>
                <c:pt idx="186">
                  <c:v>560</c:v>
                </c:pt>
                <c:pt idx="187">
                  <c:v>516</c:v>
                </c:pt>
                <c:pt idx="188">
                  <c:v>511</c:v>
                </c:pt>
                <c:pt idx="189">
                  <c:v>534</c:v>
                </c:pt>
                <c:pt idx="190">
                  <c:v>575</c:v>
                </c:pt>
                <c:pt idx="191">
                  <c:v>574</c:v>
                </c:pt>
                <c:pt idx="192">
                  <c:v>595</c:v>
                </c:pt>
                <c:pt idx="193">
                  <c:v>592</c:v>
                </c:pt>
                <c:pt idx="194">
                  <c:v>592</c:v>
                </c:pt>
                <c:pt idx="195">
                  <c:v>617</c:v>
                </c:pt>
                <c:pt idx="196">
                  <c:v>553</c:v>
                </c:pt>
                <c:pt idx="197">
                  <c:v>532</c:v>
                </c:pt>
                <c:pt idx="198">
                  <c:v>519</c:v>
                </c:pt>
                <c:pt idx="199">
                  <c:v>519</c:v>
                </c:pt>
                <c:pt idx="200">
                  <c:v>499</c:v>
                </c:pt>
                <c:pt idx="201">
                  <c:v>498</c:v>
                </c:pt>
                <c:pt idx="202">
                  <c:v>503</c:v>
                </c:pt>
                <c:pt idx="203">
                  <c:v>505</c:v>
                </c:pt>
                <c:pt idx="204">
                  <c:v>470</c:v>
                </c:pt>
                <c:pt idx="205">
                  <c:v>466</c:v>
                </c:pt>
                <c:pt idx="206">
                  <c:v>448</c:v>
                </c:pt>
                <c:pt idx="207">
                  <c:v>414</c:v>
                </c:pt>
                <c:pt idx="208">
                  <c:v>413</c:v>
                </c:pt>
                <c:pt idx="209">
                  <c:v>425</c:v>
                </c:pt>
                <c:pt idx="210">
                  <c:v>394</c:v>
                </c:pt>
                <c:pt idx="211">
                  <c:v>385</c:v>
                </c:pt>
                <c:pt idx="212">
                  <c:v>370</c:v>
                </c:pt>
                <c:pt idx="213">
                  <c:v>341</c:v>
                </c:pt>
                <c:pt idx="214">
                  <c:v>331</c:v>
                </c:pt>
                <c:pt idx="215">
                  <c:v>330</c:v>
                </c:pt>
                <c:pt idx="216">
                  <c:v>328</c:v>
                </c:pt>
                <c:pt idx="217">
                  <c:v>298</c:v>
                </c:pt>
                <c:pt idx="218">
                  <c:v>295</c:v>
                </c:pt>
                <c:pt idx="219">
                  <c:v>280</c:v>
                </c:pt>
                <c:pt idx="220">
                  <c:v>251</c:v>
                </c:pt>
                <c:pt idx="221">
                  <c:v>246</c:v>
                </c:pt>
                <c:pt idx="222">
                  <c:v>245</c:v>
                </c:pt>
                <c:pt idx="223">
                  <c:v>245</c:v>
                </c:pt>
                <c:pt idx="224">
                  <c:v>234</c:v>
                </c:pt>
                <c:pt idx="225">
                  <c:v>212</c:v>
                </c:pt>
                <c:pt idx="226">
                  <c:v>202</c:v>
                </c:pt>
                <c:pt idx="227">
                  <c:v>188</c:v>
                </c:pt>
                <c:pt idx="228">
                  <c:v>186</c:v>
                </c:pt>
                <c:pt idx="229">
                  <c:v>187</c:v>
                </c:pt>
                <c:pt idx="230">
                  <c:v>191</c:v>
                </c:pt>
                <c:pt idx="231">
                  <c:v>185</c:v>
                </c:pt>
                <c:pt idx="232">
                  <c:v>178</c:v>
                </c:pt>
                <c:pt idx="233">
                  <c:v>177</c:v>
                </c:pt>
                <c:pt idx="234">
                  <c:v>179</c:v>
                </c:pt>
                <c:pt idx="235">
                  <c:v>173</c:v>
                </c:pt>
                <c:pt idx="236">
                  <c:v>172</c:v>
                </c:pt>
                <c:pt idx="237">
                  <c:v>172</c:v>
                </c:pt>
                <c:pt idx="238">
                  <c:v>171</c:v>
                </c:pt>
                <c:pt idx="239">
                  <c:v>170</c:v>
                </c:pt>
                <c:pt idx="240">
                  <c:v>169</c:v>
                </c:pt>
                <c:pt idx="241">
                  <c:v>169</c:v>
                </c:pt>
                <c:pt idx="242">
                  <c:v>163</c:v>
                </c:pt>
                <c:pt idx="243">
                  <c:v>163</c:v>
                </c:pt>
                <c:pt idx="244">
                  <c:v>163</c:v>
                </c:pt>
                <c:pt idx="245">
                  <c:v>160</c:v>
                </c:pt>
                <c:pt idx="246">
                  <c:v>156</c:v>
                </c:pt>
                <c:pt idx="247">
                  <c:v>150</c:v>
                </c:pt>
                <c:pt idx="248">
                  <c:v>149</c:v>
                </c:pt>
                <c:pt idx="249">
                  <c:v>143</c:v>
                </c:pt>
                <c:pt idx="250">
                  <c:v>146</c:v>
                </c:pt>
                <c:pt idx="251">
                  <c:v>150</c:v>
                </c:pt>
                <c:pt idx="252">
                  <c:v>150</c:v>
                </c:pt>
                <c:pt idx="253">
                  <c:v>147</c:v>
                </c:pt>
                <c:pt idx="254">
                  <c:v>146</c:v>
                </c:pt>
                <c:pt idx="255">
                  <c:v>145</c:v>
                </c:pt>
                <c:pt idx="256">
                  <c:v>143</c:v>
                </c:pt>
                <c:pt idx="257">
                  <c:v>142</c:v>
                </c:pt>
                <c:pt idx="258">
                  <c:v>144</c:v>
                </c:pt>
                <c:pt idx="259">
                  <c:v>140</c:v>
                </c:pt>
                <c:pt idx="260">
                  <c:v>142</c:v>
                </c:pt>
                <c:pt idx="261">
                  <c:v>139</c:v>
                </c:pt>
                <c:pt idx="262">
                  <c:v>139</c:v>
                </c:pt>
                <c:pt idx="263">
                  <c:v>138</c:v>
                </c:pt>
                <c:pt idx="264">
                  <c:v>137</c:v>
                </c:pt>
                <c:pt idx="265">
                  <c:v>138</c:v>
                </c:pt>
                <c:pt idx="266">
                  <c:v>137</c:v>
                </c:pt>
                <c:pt idx="267">
                  <c:v>136</c:v>
                </c:pt>
                <c:pt idx="268">
                  <c:v>134</c:v>
                </c:pt>
                <c:pt idx="269">
                  <c:v>133</c:v>
                </c:pt>
                <c:pt idx="270">
                  <c:v>133</c:v>
                </c:pt>
                <c:pt idx="271">
                  <c:v>130</c:v>
                </c:pt>
                <c:pt idx="272">
                  <c:v>129</c:v>
                </c:pt>
                <c:pt idx="273">
                  <c:v>128</c:v>
                </c:pt>
                <c:pt idx="274">
                  <c:v>131</c:v>
                </c:pt>
                <c:pt idx="275">
                  <c:v>127</c:v>
                </c:pt>
                <c:pt idx="276">
                  <c:v>123</c:v>
                </c:pt>
                <c:pt idx="277">
                  <c:v>122</c:v>
                </c:pt>
                <c:pt idx="278">
                  <c:v>122</c:v>
                </c:pt>
                <c:pt idx="279">
                  <c:v>122</c:v>
                </c:pt>
                <c:pt idx="280">
                  <c:v>122</c:v>
                </c:pt>
                <c:pt idx="281">
                  <c:v>121</c:v>
                </c:pt>
                <c:pt idx="282">
                  <c:v>120</c:v>
                </c:pt>
                <c:pt idx="283">
                  <c:v>121</c:v>
                </c:pt>
                <c:pt idx="284">
                  <c:v>118</c:v>
                </c:pt>
                <c:pt idx="285">
                  <c:v>118</c:v>
                </c:pt>
                <c:pt idx="286">
                  <c:v>118</c:v>
                </c:pt>
                <c:pt idx="287">
                  <c:v>118</c:v>
                </c:pt>
                <c:pt idx="288">
                  <c:v>118</c:v>
                </c:pt>
                <c:pt idx="289">
                  <c:v>118</c:v>
                </c:pt>
                <c:pt idx="290">
                  <c:v>118</c:v>
                </c:pt>
                <c:pt idx="291">
                  <c:v>118</c:v>
                </c:pt>
                <c:pt idx="292">
                  <c:v>118</c:v>
                </c:pt>
                <c:pt idx="293">
                  <c:v>118</c:v>
                </c:pt>
                <c:pt idx="294">
                  <c:v>118</c:v>
                </c:pt>
                <c:pt idx="295">
                  <c:v>119</c:v>
                </c:pt>
                <c:pt idx="296">
                  <c:v>119</c:v>
                </c:pt>
                <c:pt idx="297">
                  <c:v>118</c:v>
                </c:pt>
                <c:pt idx="298">
                  <c:v>118</c:v>
                </c:pt>
                <c:pt idx="299">
                  <c:v>118</c:v>
                </c:pt>
                <c:pt idx="300">
                  <c:v>118</c:v>
                </c:pt>
                <c:pt idx="301">
                  <c:v>118</c:v>
                </c:pt>
                <c:pt idx="302">
                  <c:v>117</c:v>
                </c:pt>
                <c:pt idx="303">
                  <c:v>118</c:v>
                </c:pt>
                <c:pt idx="304">
                  <c:v>116</c:v>
                </c:pt>
                <c:pt idx="305">
                  <c:v>116</c:v>
                </c:pt>
                <c:pt idx="306">
                  <c:v>117</c:v>
                </c:pt>
                <c:pt idx="307">
                  <c:v>117</c:v>
                </c:pt>
                <c:pt idx="308">
                  <c:v>117</c:v>
                </c:pt>
                <c:pt idx="309">
                  <c:v>117</c:v>
                </c:pt>
                <c:pt idx="310">
                  <c:v>116</c:v>
                </c:pt>
                <c:pt idx="311">
                  <c:v>116</c:v>
                </c:pt>
                <c:pt idx="312">
                  <c:v>116</c:v>
                </c:pt>
                <c:pt idx="313">
                  <c:v>116</c:v>
                </c:pt>
                <c:pt idx="314">
                  <c:v>116</c:v>
                </c:pt>
                <c:pt idx="315">
                  <c:v>116</c:v>
                </c:pt>
                <c:pt idx="316">
                  <c:v>116</c:v>
                </c:pt>
                <c:pt idx="317">
                  <c:v>116</c:v>
                </c:pt>
                <c:pt idx="318">
                  <c:v>116</c:v>
                </c:pt>
                <c:pt idx="319">
                  <c:v>116</c:v>
                </c:pt>
                <c:pt idx="320">
                  <c:v>116</c:v>
                </c:pt>
                <c:pt idx="321">
                  <c:v>116</c:v>
                </c:pt>
                <c:pt idx="322">
                  <c:v>115</c:v>
                </c:pt>
                <c:pt idx="323">
                  <c:v>115</c:v>
                </c:pt>
                <c:pt idx="324">
                  <c:v>115</c:v>
                </c:pt>
                <c:pt idx="325">
                  <c:v>115</c:v>
                </c:pt>
                <c:pt idx="326">
                  <c:v>116</c:v>
                </c:pt>
                <c:pt idx="327">
                  <c:v>115</c:v>
                </c:pt>
                <c:pt idx="328">
                  <c:v>115</c:v>
                </c:pt>
                <c:pt idx="329">
                  <c:v>115</c:v>
                </c:pt>
                <c:pt idx="330">
                  <c:v>115</c:v>
                </c:pt>
                <c:pt idx="331">
                  <c:v>115</c:v>
                </c:pt>
                <c:pt idx="332">
                  <c:v>114</c:v>
                </c:pt>
                <c:pt idx="333">
                  <c:v>114</c:v>
                </c:pt>
                <c:pt idx="334">
                  <c:v>114</c:v>
                </c:pt>
                <c:pt idx="335">
                  <c:v>114</c:v>
                </c:pt>
                <c:pt idx="336">
                  <c:v>113</c:v>
                </c:pt>
                <c:pt idx="337">
                  <c:v>113</c:v>
                </c:pt>
                <c:pt idx="338">
                  <c:v>113</c:v>
                </c:pt>
                <c:pt idx="339">
                  <c:v>113</c:v>
                </c:pt>
                <c:pt idx="340">
                  <c:v>113</c:v>
                </c:pt>
                <c:pt idx="341">
                  <c:v>113</c:v>
                </c:pt>
                <c:pt idx="342">
                  <c:v>113</c:v>
                </c:pt>
                <c:pt idx="343">
                  <c:v>113</c:v>
                </c:pt>
                <c:pt idx="344">
                  <c:v>113</c:v>
                </c:pt>
                <c:pt idx="345">
                  <c:v>113</c:v>
                </c:pt>
                <c:pt idx="346">
                  <c:v>113</c:v>
                </c:pt>
                <c:pt idx="347">
                  <c:v>113</c:v>
                </c:pt>
                <c:pt idx="348">
                  <c:v>113</c:v>
                </c:pt>
                <c:pt idx="349">
                  <c:v>114</c:v>
                </c:pt>
                <c:pt idx="350">
                  <c:v>115</c:v>
                </c:pt>
                <c:pt idx="351">
                  <c:v>115</c:v>
                </c:pt>
                <c:pt idx="352">
                  <c:v>116</c:v>
                </c:pt>
                <c:pt idx="353">
                  <c:v>115</c:v>
                </c:pt>
                <c:pt idx="354">
                  <c:v>115</c:v>
                </c:pt>
                <c:pt idx="355">
                  <c:v>115</c:v>
                </c:pt>
                <c:pt idx="356">
                  <c:v>117</c:v>
                </c:pt>
                <c:pt idx="357">
                  <c:v>117</c:v>
                </c:pt>
                <c:pt idx="358">
                  <c:v>117</c:v>
                </c:pt>
                <c:pt idx="359">
                  <c:v>117</c:v>
                </c:pt>
                <c:pt idx="360">
                  <c:v>117</c:v>
                </c:pt>
                <c:pt idx="361">
                  <c:v>116</c:v>
                </c:pt>
                <c:pt idx="362">
                  <c:v>116</c:v>
                </c:pt>
                <c:pt idx="363">
                  <c:v>116</c:v>
                </c:pt>
                <c:pt idx="364">
                  <c:v>116</c:v>
                </c:pt>
                <c:pt idx="365">
                  <c:v>117</c:v>
                </c:pt>
                <c:pt idx="366">
                  <c:v>121</c:v>
                </c:pt>
                <c:pt idx="367">
                  <c:v>123</c:v>
                </c:pt>
                <c:pt idx="368">
                  <c:v>124</c:v>
                </c:pt>
                <c:pt idx="369">
                  <c:v>123</c:v>
                </c:pt>
                <c:pt idx="370">
                  <c:v>127</c:v>
                </c:pt>
                <c:pt idx="371">
                  <c:v>124</c:v>
                </c:pt>
                <c:pt idx="372">
                  <c:v>124</c:v>
                </c:pt>
                <c:pt idx="373">
                  <c:v>124</c:v>
                </c:pt>
                <c:pt idx="374">
                  <c:v>124</c:v>
                </c:pt>
                <c:pt idx="375">
                  <c:v>124</c:v>
                </c:pt>
                <c:pt idx="376">
                  <c:v>124</c:v>
                </c:pt>
                <c:pt idx="377">
                  <c:v>125</c:v>
                </c:pt>
                <c:pt idx="378">
                  <c:v>125</c:v>
                </c:pt>
                <c:pt idx="379">
                  <c:v>125</c:v>
                </c:pt>
                <c:pt idx="380">
                  <c:v>124</c:v>
                </c:pt>
                <c:pt idx="381">
                  <c:v>122</c:v>
                </c:pt>
                <c:pt idx="382">
                  <c:v>122</c:v>
                </c:pt>
                <c:pt idx="383">
                  <c:v>122</c:v>
                </c:pt>
                <c:pt idx="384">
                  <c:v>123</c:v>
                </c:pt>
                <c:pt idx="385">
                  <c:v>120</c:v>
                </c:pt>
                <c:pt idx="386">
                  <c:v>120</c:v>
                </c:pt>
                <c:pt idx="387">
                  <c:v>118</c:v>
                </c:pt>
                <c:pt idx="388">
                  <c:v>118</c:v>
                </c:pt>
                <c:pt idx="389">
                  <c:v>118</c:v>
                </c:pt>
                <c:pt idx="390">
                  <c:v>118</c:v>
                </c:pt>
                <c:pt idx="391">
                  <c:v>120</c:v>
                </c:pt>
                <c:pt idx="392">
                  <c:v>118</c:v>
                </c:pt>
                <c:pt idx="393">
                  <c:v>119</c:v>
                </c:pt>
                <c:pt idx="394">
                  <c:v>119</c:v>
                </c:pt>
                <c:pt idx="395">
                  <c:v>120</c:v>
                </c:pt>
                <c:pt idx="396">
                  <c:v>121</c:v>
                </c:pt>
                <c:pt idx="397">
                  <c:v>122</c:v>
                </c:pt>
                <c:pt idx="398">
                  <c:v>124</c:v>
                </c:pt>
                <c:pt idx="399">
                  <c:v>126</c:v>
                </c:pt>
                <c:pt idx="400">
                  <c:v>134</c:v>
                </c:pt>
                <c:pt idx="401">
                  <c:v>133</c:v>
                </c:pt>
                <c:pt idx="402">
                  <c:v>158</c:v>
                </c:pt>
                <c:pt idx="403">
                  <c:v>158</c:v>
                </c:pt>
                <c:pt idx="404">
                  <c:v>158</c:v>
                </c:pt>
                <c:pt idx="405">
                  <c:v>159</c:v>
                </c:pt>
                <c:pt idx="406">
                  <c:v>159</c:v>
                </c:pt>
                <c:pt idx="407">
                  <c:v>178</c:v>
                </c:pt>
                <c:pt idx="408">
                  <c:v>180</c:v>
                </c:pt>
                <c:pt idx="409">
                  <c:v>180</c:v>
                </c:pt>
                <c:pt idx="410">
                  <c:v>180</c:v>
                </c:pt>
                <c:pt idx="411">
                  <c:v>179</c:v>
                </c:pt>
                <c:pt idx="412">
                  <c:v>183</c:v>
                </c:pt>
                <c:pt idx="413">
                  <c:v>184</c:v>
                </c:pt>
                <c:pt idx="414">
                  <c:v>178</c:v>
                </c:pt>
                <c:pt idx="415">
                  <c:v>178</c:v>
                </c:pt>
                <c:pt idx="416">
                  <c:v>161</c:v>
                </c:pt>
                <c:pt idx="417">
                  <c:v>160</c:v>
                </c:pt>
                <c:pt idx="418">
                  <c:v>158</c:v>
                </c:pt>
                <c:pt idx="419">
                  <c:v>171</c:v>
                </c:pt>
                <c:pt idx="420">
                  <c:v>179</c:v>
                </c:pt>
                <c:pt idx="421">
                  <c:v>187</c:v>
                </c:pt>
                <c:pt idx="422">
                  <c:v>171</c:v>
                </c:pt>
                <c:pt idx="423">
                  <c:v>189</c:v>
                </c:pt>
                <c:pt idx="424">
                  <c:v>192</c:v>
                </c:pt>
                <c:pt idx="425">
                  <c:v>201</c:v>
                </c:pt>
                <c:pt idx="426">
                  <c:v>236</c:v>
                </c:pt>
                <c:pt idx="427">
                  <c:v>246</c:v>
                </c:pt>
                <c:pt idx="428">
                  <c:v>251</c:v>
                </c:pt>
                <c:pt idx="429">
                  <c:v>298</c:v>
                </c:pt>
                <c:pt idx="430">
                  <c:v>317</c:v>
                </c:pt>
                <c:pt idx="431">
                  <c:v>311</c:v>
                </c:pt>
                <c:pt idx="432">
                  <c:v>310</c:v>
                </c:pt>
                <c:pt idx="433">
                  <c:v>334</c:v>
                </c:pt>
                <c:pt idx="434">
                  <c:v>348</c:v>
                </c:pt>
                <c:pt idx="435">
                  <c:v>354</c:v>
                </c:pt>
                <c:pt idx="436">
                  <c:v>363</c:v>
                </c:pt>
                <c:pt idx="437">
                  <c:v>375</c:v>
                </c:pt>
                <c:pt idx="438">
                  <c:v>372</c:v>
                </c:pt>
                <c:pt idx="439">
                  <c:v>377</c:v>
                </c:pt>
                <c:pt idx="440">
                  <c:v>407</c:v>
                </c:pt>
                <c:pt idx="441">
                  <c:v>409</c:v>
                </c:pt>
                <c:pt idx="442">
                  <c:v>411</c:v>
                </c:pt>
                <c:pt idx="443">
                  <c:v>442</c:v>
                </c:pt>
                <c:pt idx="444">
                  <c:v>497</c:v>
                </c:pt>
                <c:pt idx="445">
                  <c:v>501</c:v>
                </c:pt>
                <c:pt idx="446">
                  <c:v>499</c:v>
                </c:pt>
                <c:pt idx="447">
                  <c:v>539</c:v>
                </c:pt>
                <c:pt idx="448">
                  <c:v>526</c:v>
                </c:pt>
                <c:pt idx="449">
                  <c:v>534</c:v>
                </c:pt>
                <c:pt idx="450">
                  <c:v>534</c:v>
                </c:pt>
                <c:pt idx="451">
                  <c:v>566</c:v>
                </c:pt>
                <c:pt idx="452">
                  <c:v>551</c:v>
                </c:pt>
                <c:pt idx="453">
                  <c:v>552</c:v>
                </c:pt>
                <c:pt idx="454">
                  <c:v>582</c:v>
                </c:pt>
                <c:pt idx="455">
                  <c:v>561</c:v>
                </c:pt>
                <c:pt idx="456">
                  <c:v>534</c:v>
                </c:pt>
                <c:pt idx="457">
                  <c:v>535</c:v>
                </c:pt>
                <c:pt idx="458">
                  <c:v>429</c:v>
                </c:pt>
                <c:pt idx="459">
                  <c:v>450</c:v>
                </c:pt>
                <c:pt idx="460">
                  <c:v>430</c:v>
                </c:pt>
                <c:pt idx="461">
                  <c:v>448</c:v>
                </c:pt>
                <c:pt idx="462">
                  <c:v>426</c:v>
                </c:pt>
                <c:pt idx="463">
                  <c:v>416</c:v>
                </c:pt>
                <c:pt idx="464">
                  <c:v>405</c:v>
                </c:pt>
                <c:pt idx="465">
                  <c:v>362</c:v>
                </c:pt>
                <c:pt idx="466">
                  <c:v>349</c:v>
                </c:pt>
                <c:pt idx="467">
                  <c:v>346</c:v>
                </c:pt>
                <c:pt idx="468">
                  <c:v>353</c:v>
                </c:pt>
                <c:pt idx="469">
                  <c:v>341</c:v>
                </c:pt>
                <c:pt idx="470">
                  <c:v>332</c:v>
                </c:pt>
                <c:pt idx="471">
                  <c:v>309</c:v>
                </c:pt>
                <c:pt idx="472">
                  <c:v>292</c:v>
                </c:pt>
                <c:pt idx="473">
                  <c:v>245</c:v>
                </c:pt>
                <c:pt idx="474">
                  <c:v>246</c:v>
                </c:pt>
                <c:pt idx="475">
                  <c:v>256</c:v>
                </c:pt>
                <c:pt idx="476">
                  <c:v>230</c:v>
                </c:pt>
                <c:pt idx="477">
                  <c:v>211</c:v>
                </c:pt>
                <c:pt idx="478">
                  <c:v>181</c:v>
                </c:pt>
                <c:pt idx="479">
                  <c:v>158</c:v>
                </c:pt>
                <c:pt idx="480">
                  <c:v>148</c:v>
                </c:pt>
                <c:pt idx="481">
                  <c:v>143</c:v>
                </c:pt>
                <c:pt idx="482">
                  <c:v>152</c:v>
                </c:pt>
                <c:pt idx="483">
                  <c:v>126</c:v>
                </c:pt>
                <c:pt idx="484">
                  <c:v>120</c:v>
                </c:pt>
                <c:pt idx="485">
                  <c:v>105</c:v>
                </c:pt>
                <c:pt idx="486">
                  <c:v>96</c:v>
                </c:pt>
                <c:pt idx="487">
                  <c:v>86</c:v>
                </c:pt>
                <c:pt idx="488">
                  <c:v>83</c:v>
                </c:pt>
                <c:pt idx="489">
                  <c:v>85</c:v>
                </c:pt>
                <c:pt idx="490">
                  <c:v>73</c:v>
                </c:pt>
                <c:pt idx="491">
                  <c:v>71</c:v>
                </c:pt>
                <c:pt idx="492">
                  <c:v>70</c:v>
                </c:pt>
                <c:pt idx="493">
                  <c:v>71</c:v>
                </c:pt>
                <c:pt idx="494">
                  <c:v>67</c:v>
                </c:pt>
                <c:pt idx="495">
                  <c:v>66</c:v>
                </c:pt>
                <c:pt idx="496">
                  <c:v>64</c:v>
                </c:pt>
                <c:pt idx="497">
                  <c:v>52</c:v>
                </c:pt>
                <c:pt idx="498">
                  <c:v>57</c:v>
                </c:pt>
                <c:pt idx="499">
                  <c:v>57</c:v>
                </c:pt>
                <c:pt idx="500">
                  <c:v>5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5DC7-418F-9894-CC9725FB542B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Personál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numRef>
              <c:f>List1!$A$2:$A$502</c:f>
              <c:numCache>
                <c:formatCode>m/d/yyyy</c:formatCode>
                <c:ptCount val="501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</c:numCache>
            </c:numRef>
          </c:cat>
          <c:val>
            <c:numRef>
              <c:f>List1!$C$2:$C$502</c:f>
              <c:numCache>
                <c:formatCode>General</c:formatCode>
                <c:ptCount val="501"/>
                <c:pt idx="0">
                  <c:v>1</c:v>
                </c:pt>
                <c:pt idx="1">
                  <c:v>0</c:v>
                </c:pt>
                <c:pt idx="2">
                  <c:v>0</c:v>
                </c:pt>
                <c:pt idx="3">
                  <c:v>3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8">
                  <c:v>3</c:v>
                </c:pt>
                <c:pt idx="9">
                  <c:v>3</c:v>
                </c:pt>
                <c:pt idx="10">
                  <c:v>3</c:v>
                </c:pt>
                <c:pt idx="11">
                  <c:v>3</c:v>
                </c:pt>
                <c:pt idx="12">
                  <c:v>2</c:v>
                </c:pt>
                <c:pt idx="13">
                  <c:v>5</c:v>
                </c:pt>
                <c:pt idx="14">
                  <c:v>5</c:v>
                </c:pt>
                <c:pt idx="15">
                  <c:v>7</c:v>
                </c:pt>
                <c:pt idx="16">
                  <c:v>8</c:v>
                </c:pt>
                <c:pt idx="17">
                  <c:v>8</c:v>
                </c:pt>
                <c:pt idx="18">
                  <c:v>8</c:v>
                </c:pt>
                <c:pt idx="19">
                  <c:v>11</c:v>
                </c:pt>
                <c:pt idx="20">
                  <c:v>12</c:v>
                </c:pt>
                <c:pt idx="21">
                  <c:v>13</c:v>
                </c:pt>
                <c:pt idx="22">
                  <c:v>13</c:v>
                </c:pt>
                <c:pt idx="23">
                  <c:v>17</c:v>
                </c:pt>
                <c:pt idx="24">
                  <c:v>28</c:v>
                </c:pt>
                <c:pt idx="25">
                  <c:v>32</c:v>
                </c:pt>
                <c:pt idx="26">
                  <c:v>33</c:v>
                </c:pt>
                <c:pt idx="27">
                  <c:v>36</c:v>
                </c:pt>
                <c:pt idx="28">
                  <c:v>55</c:v>
                </c:pt>
                <c:pt idx="29">
                  <c:v>60</c:v>
                </c:pt>
                <c:pt idx="30">
                  <c:v>88</c:v>
                </c:pt>
                <c:pt idx="31">
                  <c:v>177</c:v>
                </c:pt>
                <c:pt idx="32">
                  <c:v>202</c:v>
                </c:pt>
                <c:pt idx="33">
                  <c:v>216</c:v>
                </c:pt>
                <c:pt idx="34">
                  <c:v>299</c:v>
                </c:pt>
                <c:pt idx="35">
                  <c:v>334</c:v>
                </c:pt>
                <c:pt idx="36">
                  <c:v>361</c:v>
                </c:pt>
                <c:pt idx="37">
                  <c:v>442</c:v>
                </c:pt>
                <c:pt idx="38">
                  <c:v>522</c:v>
                </c:pt>
                <c:pt idx="39">
                  <c:v>560</c:v>
                </c:pt>
                <c:pt idx="40">
                  <c:v>574</c:v>
                </c:pt>
                <c:pt idx="41">
                  <c:v>702</c:v>
                </c:pt>
                <c:pt idx="42">
                  <c:v>823</c:v>
                </c:pt>
                <c:pt idx="43">
                  <c:v>989</c:v>
                </c:pt>
                <c:pt idx="44">
                  <c:v>1159</c:v>
                </c:pt>
                <c:pt idx="45">
                  <c:v>1324</c:v>
                </c:pt>
                <c:pt idx="46">
                  <c:v>1393</c:v>
                </c:pt>
                <c:pt idx="47">
                  <c:v>1387</c:v>
                </c:pt>
                <c:pt idx="48">
                  <c:v>1527</c:v>
                </c:pt>
                <c:pt idx="49">
                  <c:v>1665</c:v>
                </c:pt>
                <c:pt idx="50">
                  <c:v>1883</c:v>
                </c:pt>
                <c:pt idx="51">
                  <c:v>2041</c:v>
                </c:pt>
                <c:pt idx="52">
                  <c:v>2300</c:v>
                </c:pt>
                <c:pt idx="53">
                  <c:v>2373</c:v>
                </c:pt>
                <c:pt idx="54">
                  <c:v>2337</c:v>
                </c:pt>
                <c:pt idx="55">
                  <c:v>2498</c:v>
                </c:pt>
                <c:pt idx="56">
                  <c:v>2667</c:v>
                </c:pt>
                <c:pt idx="57">
                  <c:v>2680</c:v>
                </c:pt>
                <c:pt idx="58">
                  <c:v>3075</c:v>
                </c:pt>
                <c:pt idx="59">
                  <c:v>3209</c:v>
                </c:pt>
                <c:pt idx="60">
                  <c:v>3125</c:v>
                </c:pt>
                <c:pt idx="61">
                  <c:v>2964</c:v>
                </c:pt>
                <c:pt idx="62">
                  <c:v>2979</c:v>
                </c:pt>
                <c:pt idx="63">
                  <c:v>2906</c:v>
                </c:pt>
                <c:pt idx="64">
                  <c:v>3096</c:v>
                </c:pt>
                <c:pt idx="65">
                  <c:v>3269</c:v>
                </c:pt>
                <c:pt idx="66">
                  <c:v>3088</c:v>
                </c:pt>
                <c:pt idx="67">
                  <c:v>2839</c:v>
                </c:pt>
                <c:pt idx="68">
                  <c:v>2740</c:v>
                </c:pt>
                <c:pt idx="69">
                  <c:v>2587</c:v>
                </c:pt>
                <c:pt idx="70">
                  <c:v>2446</c:v>
                </c:pt>
                <c:pt idx="71">
                  <c:v>2563</c:v>
                </c:pt>
                <c:pt idx="72">
                  <c:v>2687</c:v>
                </c:pt>
                <c:pt idx="73">
                  <c:v>2589</c:v>
                </c:pt>
                <c:pt idx="74">
                  <c:v>2387</c:v>
                </c:pt>
                <c:pt idx="75">
                  <c:v>2145</c:v>
                </c:pt>
                <c:pt idx="76">
                  <c:v>2102</c:v>
                </c:pt>
                <c:pt idx="77">
                  <c:v>1942</c:v>
                </c:pt>
                <c:pt idx="78">
                  <c:v>2043</c:v>
                </c:pt>
                <c:pt idx="79">
                  <c:v>2115</c:v>
                </c:pt>
                <c:pt idx="80">
                  <c:v>2059</c:v>
                </c:pt>
                <c:pt idx="81">
                  <c:v>1802</c:v>
                </c:pt>
                <c:pt idx="82">
                  <c:v>1617</c:v>
                </c:pt>
                <c:pt idx="83">
                  <c:v>1595</c:v>
                </c:pt>
                <c:pt idx="84">
                  <c:v>1533</c:v>
                </c:pt>
                <c:pt idx="85">
                  <c:v>1557</c:v>
                </c:pt>
                <c:pt idx="86">
                  <c:v>1580</c:v>
                </c:pt>
                <c:pt idx="87">
                  <c:v>1534</c:v>
                </c:pt>
                <c:pt idx="88">
                  <c:v>1497</c:v>
                </c:pt>
                <c:pt idx="89">
                  <c:v>1352</c:v>
                </c:pt>
                <c:pt idx="90">
                  <c:v>1324</c:v>
                </c:pt>
                <c:pt idx="91">
                  <c:v>1317</c:v>
                </c:pt>
                <c:pt idx="92">
                  <c:v>1363</c:v>
                </c:pt>
                <c:pt idx="93">
                  <c:v>1402</c:v>
                </c:pt>
                <c:pt idx="94">
                  <c:v>1336</c:v>
                </c:pt>
                <c:pt idx="95">
                  <c:v>1275</c:v>
                </c:pt>
                <c:pt idx="96">
                  <c:v>1202</c:v>
                </c:pt>
                <c:pt idx="97">
                  <c:v>1262</c:v>
                </c:pt>
                <c:pt idx="98">
                  <c:v>1250</c:v>
                </c:pt>
                <c:pt idx="99">
                  <c:v>1288</c:v>
                </c:pt>
                <c:pt idx="100">
                  <c:v>1334</c:v>
                </c:pt>
                <c:pt idx="101">
                  <c:v>1314</c:v>
                </c:pt>
                <c:pt idx="102">
                  <c:v>1243</c:v>
                </c:pt>
                <c:pt idx="103">
                  <c:v>1203</c:v>
                </c:pt>
                <c:pt idx="104">
                  <c:v>1237</c:v>
                </c:pt>
                <c:pt idx="105">
                  <c:v>1240</c:v>
                </c:pt>
                <c:pt idx="106">
                  <c:v>1309</c:v>
                </c:pt>
                <c:pt idx="107">
                  <c:v>1342</c:v>
                </c:pt>
                <c:pt idx="108">
                  <c:v>1293</c:v>
                </c:pt>
                <c:pt idx="109">
                  <c:v>1237</c:v>
                </c:pt>
                <c:pt idx="110">
                  <c:v>1187</c:v>
                </c:pt>
                <c:pt idx="111">
                  <c:v>1287</c:v>
                </c:pt>
                <c:pt idx="112">
                  <c:v>1333</c:v>
                </c:pt>
                <c:pt idx="113">
                  <c:v>1420</c:v>
                </c:pt>
                <c:pt idx="114">
                  <c:v>1435</c:v>
                </c:pt>
                <c:pt idx="115">
                  <c:v>1381</c:v>
                </c:pt>
                <c:pt idx="116">
                  <c:v>1338</c:v>
                </c:pt>
                <c:pt idx="117">
                  <c:v>1308</c:v>
                </c:pt>
                <c:pt idx="118">
                  <c:v>1421</c:v>
                </c:pt>
                <c:pt idx="119">
                  <c:v>1510</c:v>
                </c:pt>
                <c:pt idx="120">
                  <c:v>1586</c:v>
                </c:pt>
                <c:pt idx="121">
                  <c:v>1652</c:v>
                </c:pt>
                <c:pt idx="122">
                  <c:v>1557</c:v>
                </c:pt>
                <c:pt idx="123">
                  <c:v>1486</c:v>
                </c:pt>
                <c:pt idx="124">
                  <c:v>1419</c:v>
                </c:pt>
                <c:pt idx="125">
                  <c:v>1680</c:v>
                </c:pt>
                <c:pt idx="126">
                  <c:v>1803</c:v>
                </c:pt>
                <c:pt idx="127">
                  <c:v>1877</c:v>
                </c:pt>
                <c:pt idx="128">
                  <c:v>1937</c:v>
                </c:pt>
                <c:pt idx="129">
                  <c:v>1838</c:v>
                </c:pt>
                <c:pt idx="130">
                  <c:v>1723</c:v>
                </c:pt>
                <c:pt idx="131">
                  <c:v>1605</c:v>
                </c:pt>
                <c:pt idx="132">
                  <c:v>1751</c:v>
                </c:pt>
                <c:pt idx="133">
                  <c:v>1836</c:v>
                </c:pt>
                <c:pt idx="134">
                  <c:v>1908</c:v>
                </c:pt>
                <c:pt idx="135">
                  <c:v>1909</c:v>
                </c:pt>
                <c:pt idx="136">
                  <c:v>1767</c:v>
                </c:pt>
                <c:pt idx="137">
                  <c:v>1624</c:v>
                </c:pt>
                <c:pt idx="138">
                  <c:v>1515</c:v>
                </c:pt>
                <c:pt idx="139">
                  <c:v>1514</c:v>
                </c:pt>
                <c:pt idx="140">
                  <c:v>1463</c:v>
                </c:pt>
                <c:pt idx="141">
                  <c:v>1494</c:v>
                </c:pt>
                <c:pt idx="142">
                  <c:v>1522</c:v>
                </c:pt>
                <c:pt idx="143">
                  <c:v>1429</c:v>
                </c:pt>
                <c:pt idx="144">
                  <c:v>1352</c:v>
                </c:pt>
                <c:pt idx="145">
                  <c:v>1241</c:v>
                </c:pt>
                <c:pt idx="146">
                  <c:v>1254</c:v>
                </c:pt>
                <c:pt idx="147">
                  <c:v>1258</c:v>
                </c:pt>
                <c:pt idx="148">
                  <c:v>1286</c:v>
                </c:pt>
                <c:pt idx="149">
                  <c:v>1296</c:v>
                </c:pt>
                <c:pt idx="150">
                  <c:v>1212</c:v>
                </c:pt>
                <c:pt idx="151">
                  <c:v>1146</c:v>
                </c:pt>
                <c:pt idx="152">
                  <c:v>1068</c:v>
                </c:pt>
                <c:pt idx="153">
                  <c:v>1089</c:v>
                </c:pt>
                <c:pt idx="154">
                  <c:v>1080</c:v>
                </c:pt>
                <c:pt idx="155">
                  <c:v>1119</c:v>
                </c:pt>
                <c:pt idx="156">
                  <c:v>1141</c:v>
                </c:pt>
                <c:pt idx="157">
                  <c:v>1087</c:v>
                </c:pt>
                <c:pt idx="158">
                  <c:v>1018</c:v>
                </c:pt>
                <c:pt idx="159">
                  <c:v>975</c:v>
                </c:pt>
                <c:pt idx="160">
                  <c:v>999</c:v>
                </c:pt>
                <c:pt idx="161">
                  <c:v>967</c:v>
                </c:pt>
                <c:pt idx="162">
                  <c:v>985</c:v>
                </c:pt>
                <c:pt idx="163">
                  <c:v>1011</c:v>
                </c:pt>
                <c:pt idx="164">
                  <c:v>973</c:v>
                </c:pt>
                <c:pt idx="165">
                  <c:v>914</c:v>
                </c:pt>
                <c:pt idx="166">
                  <c:v>863</c:v>
                </c:pt>
                <c:pt idx="167">
                  <c:v>881</c:v>
                </c:pt>
                <c:pt idx="168">
                  <c:v>872</c:v>
                </c:pt>
                <c:pt idx="169">
                  <c:v>891</c:v>
                </c:pt>
                <c:pt idx="170">
                  <c:v>906</c:v>
                </c:pt>
                <c:pt idx="171">
                  <c:v>878</c:v>
                </c:pt>
                <c:pt idx="172">
                  <c:v>838</c:v>
                </c:pt>
                <c:pt idx="173">
                  <c:v>811</c:v>
                </c:pt>
                <c:pt idx="174">
                  <c:v>844</c:v>
                </c:pt>
                <c:pt idx="175">
                  <c:v>857</c:v>
                </c:pt>
                <c:pt idx="176">
                  <c:v>872</c:v>
                </c:pt>
                <c:pt idx="177">
                  <c:v>898</c:v>
                </c:pt>
                <c:pt idx="178">
                  <c:v>876</c:v>
                </c:pt>
                <c:pt idx="179">
                  <c:v>827</c:v>
                </c:pt>
                <c:pt idx="180">
                  <c:v>792</c:v>
                </c:pt>
                <c:pt idx="181">
                  <c:v>816</c:v>
                </c:pt>
                <c:pt idx="182">
                  <c:v>809</c:v>
                </c:pt>
                <c:pt idx="183">
                  <c:v>850</c:v>
                </c:pt>
                <c:pt idx="184">
                  <c:v>878</c:v>
                </c:pt>
                <c:pt idx="185">
                  <c:v>827</c:v>
                </c:pt>
                <c:pt idx="186">
                  <c:v>776</c:v>
                </c:pt>
                <c:pt idx="187">
                  <c:v>744</c:v>
                </c:pt>
                <c:pt idx="188">
                  <c:v>764</c:v>
                </c:pt>
                <c:pt idx="189">
                  <c:v>750</c:v>
                </c:pt>
                <c:pt idx="190">
                  <c:v>771</c:v>
                </c:pt>
                <c:pt idx="191">
                  <c:v>786</c:v>
                </c:pt>
                <c:pt idx="192">
                  <c:v>802</c:v>
                </c:pt>
                <c:pt idx="193">
                  <c:v>812</c:v>
                </c:pt>
                <c:pt idx="194">
                  <c:v>818</c:v>
                </c:pt>
                <c:pt idx="195">
                  <c:v>853</c:v>
                </c:pt>
                <c:pt idx="196">
                  <c:v>815</c:v>
                </c:pt>
                <c:pt idx="197">
                  <c:v>792</c:v>
                </c:pt>
                <c:pt idx="198">
                  <c:v>753</c:v>
                </c:pt>
                <c:pt idx="199">
                  <c:v>733</c:v>
                </c:pt>
                <c:pt idx="200">
                  <c:v>700</c:v>
                </c:pt>
                <c:pt idx="201">
                  <c:v>695</c:v>
                </c:pt>
                <c:pt idx="202">
                  <c:v>720</c:v>
                </c:pt>
                <c:pt idx="203">
                  <c:v>675</c:v>
                </c:pt>
                <c:pt idx="204">
                  <c:v>649</c:v>
                </c:pt>
                <c:pt idx="205">
                  <c:v>621</c:v>
                </c:pt>
                <c:pt idx="206">
                  <c:v>608</c:v>
                </c:pt>
                <c:pt idx="207">
                  <c:v>585</c:v>
                </c:pt>
                <c:pt idx="208">
                  <c:v>577</c:v>
                </c:pt>
                <c:pt idx="209">
                  <c:v>584</c:v>
                </c:pt>
                <c:pt idx="210">
                  <c:v>570</c:v>
                </c:pt>
                <c:pt idx="211">
                  <c:v>543</c:v>
                </c:pt>
                <c:pt idx="212">
                  <c:v>534</c:v>
                </c:pt>
                <c:pt idx="213">
                  <c:v>509</c:v>
                </c:pt>
                <c:pt idx="214">
                  <c:v>493</c:v>
                </c:pt>
                <c:pt idx="215">
                  <c:v>492</c:v>
                </c:pt>
                <c:pt idx="216">
                  <c:v>495</c:v>
                </c:pt>
                <c:pt idx="217">
                  <c:v>481</c:v>
                </c:pt>
                <c:pt idx="218">
                  <c:v>473</c:v>
                </c:pt>
                <c:pt idx="219">
                  <c:v>471</c:v>
                </c:pt>
                <c:pt idx="220">
                  <c:v>465</c:v>
                </c:pt>
                <c:pt idx="221">
                  <c:v>451</c:v>
                </c:pt>
                <c:pt idx="222">
                  <c:v>447</c:v>
                </c:pt>
                <c:pt idx="223">
                  <c:v>452</c:v>
                </c:pt>
                <c:pt idx="224">
                  <c:v>428</c:v>
                </c:pt>
                <c:pt idx="225">
                  <c:v>421</c:v>
                </c:pt>
                <c:pt idx="226">
                  <c:v>415</c:v>
                </c:pt>
                <c:pt idx="227">
                  <c:v>411</c:v>
                </c:pt>
                <c:pt idx="228">
                  <c:v>410</c:v>
                </c:pt>
                <c:pt idx="229">
                  <c:v>407</c:v>
                </c:pt>
                <c:pt idx="230">
                  <c:v>415</c:v>
                </c:pt>
                <c:pt idx="231">
                  <c:v>409</c:v>
                </c:pt>
                <c:pt idx="232">
                  <c:v>386</c:v>
                </c:pt>
                <c:pt idx="233">
                  <c:v>368</c:v>
                </c:pt>
                <c:pt idx="234">
                  <c:v>360</c:v>
                </c:pt>
                <c:pt idx="235">
                  <c:v>353</c:v>
                </c:pt>
                <c:pt idx="236">
                  <c:v>351</c:v>
                </c:pt>
                <c:pt idx="237">
                  <c:v>356</c:v>
                </c:pt>
                <c:pt idx="238">
                  <c:v>352</c:v>
                </c:pt>
                <c:pt idx="239">
                  <c:v>347</c:v>
                </c:pt>
                <c:pt idx="240">
                  <c:v>343</c:v>
                </c:pt>
                <c:pt idx="241">
                  <c:v>340</c:v>
                </c:pt>
                <c:pt idx="242">
                  <c:v>337</c:v>
                </c:pt>
                <c:pt idx="243">
                  <c:v>336</c:v>
                </c:pt>
                <c:pt idx="244">
                  <c:v>338</c:v>
                </c:pt>
                <c:pt idx="245">
                  <c:v>327</c:v>
                </c:pt>
                <c:pt idx="246">
                  <c:v>323</c:v>
                </c:pt>
                <c:pt idx="247">
                  <c:v>324</c:v>
                </c:pt>
                <c:pt idx="248">
                  <c:v>322</c:v>
                </c:pt>
                <c:pt idx="249">
                  <c:v>317</c:v>
                </c:pt>
                <c:pt idx="250">
                  <c:v>315</c:v>
                </c:pt>
                <c:pt idx="251">
                  <c:v>316</c:v>
                </c:pt>
                <c:pt idx="252">
                  <c:v>312</c:v>
                </c:pt>
                <c:pt idx="253">
                  <c:v>308</c:v>
                </c:pt>
                <c:pt idx="254">
                  <c:v>308</c:v>
                </c:pt>
                <c:pt idx="255">
                  <c:v>308</c:v>
                </c:pt>
                <c:pt idx="256">
                  <c:v>305</c:v>
                </c:pt>
                <c:pt idx="257">
                  <c:v>305</c:v>
                </c:pt>
                <c:pt idx="258">
                  <c:v>307</c:v>
                </c:pt>
                <c:pt idx="259">
                  <c:v>308</c:v>
                </c:pt>
                <c:pt idx="260">
                  <c:v>305</c:v>
                </c:pt>
                <c:pt idx="261">
                  <c:v>306</c:v>
                </c:pt>
                <c:pt idx="262">
                  <c:v>305</c:v>
                </c:pt>
                <c:pt idx="263">
                  <c:v>302</c:v>
                </c:pt>
                <c:pt idx="264">
                  <c:v>302</c:v>
                </c:pt>
                <c:pt idx="265">
                  <c:v>304</c:v>
                </c:pt>
                <c:pt idx="266">
                  <c:v>302</c:v>
                </c:pt>
                <c:pt idx="267">
                  <c:v>299</c:v>
                </c:pt>
                <c:pt idx="268">
                  <c:v>298</c:v>
                </c:pt>
                <c:pt idx="269">
                  <c:v>296</c:v>
                </c:pt>
                <c:pt idx="270">
                  <c:v>294</c:v>
                </c:pt>
                <c:pt idx="271">
                  <c:v>294</c:v>
                </c:pt>
                <c:pt idx="272">
                  <c:v>293</c:v>
                </c:pt>
                <c:pt idx="273">
                  <c:v>290</c:v>
                </c:pt>
                <c:pt idx="274">
                  <c:v>287</c:v>
                </c:pt>
                <c:pt idx="275">
                  <c:v>286</c:v>
                </c:pt>
                <c:pt idx="276">
                  <c:v>285</c:v>
                </c:pt>
                <c:pt idx="277">
                  <c:v>285</c:v>
                </c:pt>
                <c:pt idx="278">
                  <c:v>285</c:v>
                </c:pt>
                <c:pt idx="279">
                  <c:v>284</c:v>
                </c:pt>
                <c:pt idx="280">
                  <c:v>282</c:v>
                </c:pt>
                <c:pt idx="281">
                  <c:v>280</c:v>
                </c:pt>
                <c:pt idx="282">
                  <c:v>280</c:v>
                </c:pt>
                <c:pt idx="283">
                  <c:v>280</c:v>
                </c:pt>
                <c:pt idx="284">
                  <c:v>280</c:v>
                </c:pt>
                <c:pt idx="285">
                  <c:v>280</c:v>
                </c:pt>
                <c:pt idx="286">
                  <c:v>280</c:v>
                </c:pt>
                <c:pt idx="287">
                  <c:v>280</c:v>
                </c:pt>
                <c:pt idx="288">
                  <c:v>280</c:v>
                </c:pt>
                <c:pt idx="289">
                  <c:v>279</c:v>
                </c:pt>
                <c:pt idx="290">
                  <c:v>279</c:v>
                </c:pt>
                <c:pt idx="291">
                  <c:v>279</c:v>
                </c:pt>
                <c:pt idx="292">
                  <c:v>279</c:v>
                </c:pt>
                <c:pt idx="293">
                  <c:v>279</c:v>
                </c:pt>
                <c:pt idx="294">
                  <c:v>279</c:v>
                </c:pt>
                <c:pt idx="295">
                  <c:v>279</c:v>
                </c:pt>
                <c:pt idx="296">
                  <c:v>279</c:v>
                </c:pt>
                <c:pt idx="297">
                  <c:v>278</c:v>
                </c:pt>
                <c:pt idx="298">
                  <c:v>278</c:v>
                </c:pt>
                <c:pt idx="299">
                  <c:v>278</c:v>
                </c:pt>
                <c:pt idx="300">
                  <c:v>278</c:v>
                </c:pt>
                <c:pt idx="301">
                  <c:v>278</c:v>
                </c:pt>
                <c:pt idx="302">
                  <c:v>279</c:v>
                </c:pt>
                <c:pt idx="303">
                  <c:v>279</c:v>
                </c:pt>
                <c:pt idx="304">
                  <c:v>279</c:v>
                </c:pt>
                <c:pt idx="305">
                  <c:v>279</c:v>
                </c:pt>
                <c:pt idx="306">
                  <c:v>279</c:v>
                </c:pt>
                <c:pt idx="307">
                  <c:v>279</c:v>
                </c:pt>
                <c:pt idx="308">
                  <c:v>279</c:v>
                </c:pt>
                <c:pt idx="309">
                  <c:v>279</c:v>
                </c:pt>
                <c:pt idx="310">
                  <c:v>279</c:v>
                </c:pt>
                <c:pt idx="311">
                  <c:v>279</c:v>
                </c:pt>
                <c:pt idx="312">
                  <c:v>279</c:v>
                </c:pt>
                <c:pt idx="313">
                  <c:v>280</c:v>
                </c:pt>
                <c:pt idx="314">
                  <c:v>280</c:v>
                </c:pt>
                <c:pt idx="315">
                  <c:v>280</c:v>
                </c:pt>
                <c:pt idx="316">
                  <c:v>280</c:v>
                </c:pt>
                <c:pt idx="317">
                  <c:v>280</c:v>
                </c:pt>
                <c:pt idx="318">
                  <c:v>279</c:v>
                </c:pt>
                <c:pt idx="319">
                  <c:v>279</c:v>
                </c:pt>
                <c:pt idx="320">
                  <c:v>279</c:v>
                </c:pt>
                <c:pt idx="321">
                  <c:v>279</c:v>
                </c:pt>
                <c:pt idx="322">
                  <c:v>279</c:v>
                </c:pt>
                <c:pt idx="323">
                  <c:v>280</c:v>
                </c:pt>
                <c:pt idx="324">
                  <c:v>279</c:v>
                </c:pt>
                <c:pt idx="325">
                  <c:v>279</c:v>
                </c:pt>
                <c:pt idx="326">
                  <c:v>278</c:v>
                </c:pt>
                <c:pt idx="327">
                  <c:v>278</c:v>
                </c:pt>
                <c:pt idx="328">
                  <c:v>277</c:v>
                </c:pt>
                <c:pt idx="329">
                  <c:v>278</c:v>
                </c:pt>
                <c:pt idx="330">
                  <c:v>279</c:v>
                </c:pt>
                <c:pt idx="331">
                  <c:v>279</c:v>
                </c:pt>
                <c:pt idx="332">
                  <c:v>279</c:v>
                </c:pt>
                <c:pt idx="333">
                  <c:v>279</c:v>
                </c:pt>
                <c:pt idx="334">
                  <c:v>279</c:v>
                </c:pt>
                <c:pt idx="335">
                  <c:v>279</c:v>
                </c:pt>
                <c:pt idx="336">
                  <c:v>279</c:v>
                </c:pt>
                <c:pt idx="337">
                  <c:v>279</c:v>
                </c:pt>
                <c:pt idx="338">
                  <c:v>278</c:v>
                </c:pt>
                <c:pt idx="339">
                  <c:v>278</c:v>
                </c:pt>
                <c:pt idx="340">
                  <c:v>278</c:v>
                </c:pt>
                <c:pt idx="341">
                  <c:v>279</c:v>
                </c:pt>
                <c:pt idx="342">
                  <c:v>279</c:v>
                </c:pt>
                <c:pt idx="343">
                  <c:v>278</c:v>
                </c:pt>
                <c:pt idx="344">
                  <c:v>278</c:v>
                </c:pt>
                <c:pt idx="345">
                  <c:v>278</c:v>
                </c:pt>
                <c:pt idx="346">
                  <c:v>278</c:v>
                </c:pt>
                <c:pt idx="347">
                  <c:v>278</c:v>
                </c:pt>
                <c:pt idx="348">
                  <c:v>278</c:v>
                </c:pt>
                <c:pt idx="349">
                  <c:v>278</c:v>
                </c:pt>
                <c:pt idx="350">
                  <c:v>277</c:v>
                </c:pt>
                <c:pt idx="351">
                  <c:v>277</c:v>
                </c:pt>
                <c:pt idx="352">
                  <c:v>277</c:v>
                </c:pt>
                <c:pt idx="353">
                  <c:v>277</c:v>
                </c:pt>
                <c:pt idx="354">
                  <c:v>277</c:v>
                </c:pt>
                <c:pt idx="355">
                  <c:v>277</c:v>
                </c:pt>
                <c:pt idx="356">
                  <c:v>278</c:v>
                </c:pt>
                <c:pt idx="357">
                  <c:v>278</c:v>
                </c:pt>
                <c:pt idx="358">
                  <c:v>278</c:v>
                </c:pt>
                <c:pt idx="359">
                  <c:v>278</c:v>
                </c:pt>
                <c:pt idx="360">
                  <c:v>279</c:v>
                </c:pt>
                <c:pt idx="361">
                  <c:v>279</c:v>
                </c:pt>
                <c:pt idx="362">
                  <c:v>279</c:v>
                </c:pt>
                <c:pt idx="363">
                  <c:v>279</c:v>
                </c:pt>
                <c:pt idx="364">
                  <c:v>279</c:v>
                </c:pt>
                <c:pt idx="365">
                  <c:v>282</c:v>
                </c:pt>
                <c:pt idx="366">
                  <c:v>283</c:v>
                </c:pt>
                <c:pt idx="367">
                  <c:v>284</c:v>
                </c:pt>
                <c:pt idx="368">
                  <c:v>284</c:v>
                </c:pt>
                <c:pt idx="369">
                  <c:v>284</c:v>
                </c:pt>
                <c:pt idx="370">
                  <c:v>285</c:v>
                </c:pt>
                <c:pt idx="371">
                  <c:v>286</c:v>
                </c:pt>
                <c:pt idx="372">
                  <c:v>287</c:v>
                </c:pt>
                <c:pt idx="373">
                  <c:v>288</c:v>
                </c:pt>
                <c:pt idx="374">
                  <c:v>288</c:v>
                </c:pt>
                <c:pt idx="375">
                  <c:v>287</c:v>
                </c:pt>
                <c:pt idx="376">
                  <c:v>286</c:v>
                </c:pt>
                <c:pt idx="377">
                  <c:v>286</c:v>
                </c:pt>
                <c:pt idx="378">
                  <c:v>287</c:v>
                </c:pt>
                <c:pt idx="379">
                  <c:v>286</c:v>
                </c:pt>
                <c:pt idx="380">
                  <c:v>286</c:v>
                </c:pt>
                <c:pt idx="381">
                  <c:v>285</c:v>
                </c:pt>
                <c:pt idx="382">
                  <c:v>283</c:v>
                </c:pt>
                <c:pt idx="383">
                  <c:v>283</c:v>
                </c:pt>
                <c:pt idx="384">
                  <c:v>287</c:v>
                </c:pt>
                <c:pt idx="385">
                  <c:v>290</c:v>
                </c:pt>
                <c:pt idx="386">
                  <c:v>290</c:v>
                </c:pt>
                <c:pt idx="387">
                  <c:v>290</c:v>
                </c:pt>
                <c:pt idx="388">
                  <c:v>290</c:v>
                </c:pt>
                <c:pt idx="389">
                  <c:v>291</c:v>
                </c:pt>
                <c:pt idx="390">
                  <c:v>292</c:v>
                </c:pt>
                <c:pt idx="391">
                  <c:v>296</c:v>
                </c:pt>
                <c:pt idx="392">
                  <c:v>298</c:v>
                </c:pt>
                <c:pt idx="393">
                  <c:v>303</c:v>
                </c:pt>
                <c:pt idx="394">
                  <c:v>304</c:v>
                </c:pt>
                <c:pt idx="395">
                  <c:v>305</c:v>
                </c:pt>
                <c:pt idx="396">
                  <c:v>304</c:v>
                </c:pt>
                <c:pt idx="397">
                  <c:v>303</c:v>
                </c:pt>
                <c:pt idx="398">
                  <c:v>305</c:v>
                </c:pt>
                <c:pt idx="399">
                  <c:v>307</c:v>
                </c:pt>
                <c:pt idx="400">
                  <c:v>307</c:v>
                </c:pt>
                <c:pt idx="401">
                  <c:v>308</c:v>
                </c:pt>
                <c:pt idx="402">
                  <c:v>309</c:v>
                </c:pt>
                <c:pt idx="403">
                  <c:v>310</c:v>
                </c:pt>
                <c:pt idx="404">
                  <c:v>308</c:v>
                </c:pt>
                <c:pt idx="405">
                  <c:v>310</c:v>
                </c:pt>
                <c:pt idx="406">
                  <c:v>306</c:v>
                </c:pt>
                <c:pt idx="407">
                  <c:v>306</c:v>
                </c:pt>
                <c:pt idx="408">
                  <c:v>302</c:v>
                </c:pt>
                <c:pt idx="409">
                  <c:v>307</c:v>
                </c:pt>
                <c:pt idx="410">
                  <c:v>307</c:v>
                </c:pt>
                <c:pt idx="411">
                  <c:v>308</c:v>
                </c:pt>
                <c:pt idx="412">
                  <c:v>320</c:v>
                </c:pt>
                <c:pt idx="413">
                  <c:v>324</c:v>
                </c:pt>
                <c:pt idx="414">
                  <c:v>332</c:v>
                </c:pt>
                <c:pt idx="415">
                  <c:v>335</c:v>
                </c:pt>
                <c:pt idx="416">
                  <c:v>341</c:v>
                </c:pt>
                <c:pt idx="417">
                  <c:v>337</c:v>
                </c:pt>
                <c:pt idx="418">
                  <c:v>340</c:v>
                </c:pt>
                <c:pt idx="419">
                  <c:v>358</c:v>
                </c:pt>
                <c:pt idx="420">
                  <c:v>360</c:v>
                </c:pt>
                <c:pt idx="421">
                  <c:v>374</c:v>
                </c:pt>
                <c:pt idx="422">
                  <c:v>375</c:v>
                </c:pt>
                <c:pt idx="423">
                  <c:v>380</c:v>
                </c:pt>
                <c:pt idx="424">
                  <c:v>380</c:v>
                </c:pt>
                <c:pt idx="425">
                  <c:v>381</c:v>
                </c:pt>
                <c:pt idx="426">
                  <c:v>422</c:v>
                </c:pt>
                <c:pt idx="427">
                  <c:v>432</c:v>
                </c:pt>
                <c:pt idx="428">
                  <c:v>444</c:v>
                </c:pt>
                <c:pt idx="429">
                  <c:v>457</c:v>
                </c:pt>
                <c:pt idx="430">
                  <c:v>475</c:v>
                </c:pt>
                <c:pt idx="431">
                  <c:v>482</c:v>
                </c:pt>
                <c:pt idx="432">
                  <c:v>484</c:v>
                </c:pt>
                <c:pt idx="433">
                  <c:v>531</c:v>
                </c:pt>
                <c:pt idx="434">
                  <c:v>544</c:v>
                </c:pt>
                <c:pt idx="435">
                  <c:v>554</c:v>
                </c:pt>
                <c:pt idx="436">
                  <c:v>580</c:v>
                </c:pt>
                <c:pt idx="437">
                  <c:v>609</c:v>
                </c:pt>
                <c:pt idx="438">
                  <c:v>617</c:v>
                </c:pt>
                <c:pt idx="439">
                  <c:v>623</c:v>
                </c:pt>
                <c:pt idx="440">
                  <c:v>670</c:v>
                </c:pt>
                <c:pt idx="441">
                  <c:v>666</c:v>
                </c:pt>
                <c:pt idx="442">
                  <c:v>649</c:v>
                </c:pt>
                <c:pt idx="443">
                  <c:v>666</c:v>
                </c:pt>
                <c:pt idx="444">
                  <c:v>690</c:v>
                </c:pt>
                <c:pt idx="445">
                  <c:v>676</c:v>
                </c:pt>
                <c:pt idx="446">
                  <c:v>672</c:v>
                </c:pt>
                <c:pt idx="447">
                  <c:v>731</c:v>
                </c:pt>
                <c:pt idx="448">
                  <c:v>734</c:v>
                </c:pt>
                <c:pt idx="449">
                  <c:v>741</c:v>
                </c:pt>
                <c:pt idx="450">
                  <c:v>743</c:v>
                </c:pt>
                <c:pt idx="451">
                  <c:v>750</c:v>
                </c:pt>
                <c:pt idx="452">
                  <c:v>738</c:v>
                </c:pt>
                <c:pt idx="453">
                  <c:v>727</c:v>
                </c:pt>
                <c:pt idx="454">
                  <c:v>760</c:v>
                </c:pt>
                <c:pt idx="455">
                  <c:v>741</c:v>
                </c:pt>
                <c:pt idx="456">
                  <c:v>731</c:v>
                </c:pt>
                <c:pt idx="457">
                  <c:v>746</c:v>
                </c:pt>
                <c:pt idx="458">
                  <c:v>707</c:v>
                </c:pt>
                <c:pt idx="459">
                  <c:v>672</c:v>
                </c:pt>
                <c:pt idx="460">
                  <c:v>662</c:v>
                </c:pt>
                <c:pt idx="461">
                  <c:v>696</c:v>
                </c:pt>
                <c:pt idx="462">
                  <c:v>658</c:v>
                </c:pt>
                <c:pt idx="463">
                  <c:v>637</c:v>
                </c:pt>
                <c:pt idx="464">
                  <c:v>599</c:v>
                </c:pt>
                <c:pt idx="465">
                  <c:v>579</c:v>
                </c:pt>
                <c:pt idx="466">
                  <c:v>544</c:v>
                </c:pt>
                <c:pt idx="467">
                  <c:v>537</c:v>
                </c:pt>
                <c:pt idx="468">
                  <c:v>556</c:v>
                </c:pt>
                <c:pt idx="469">
                  <c:v>525</c:v>
                </c:pt>
                <c:pt idx="470">
                  <c:v>494</c:v>
                </c:pt>
                <c:pt idx="471">
                  <c:v>470</c:v>
                </c:pt>
                <c:pt idx="472">
                  <c:v>447</c:v>
                </c:pt>
                <c:pt idx="473">
                  <c:v>401</c:v>
                </c:pt>
                <c:pt idx="474">
                  <c:v>395</c:v>
                </c:pt>
                <c:pt idx="475">
                  <c:v>407</c:v>
                </c:pt>
                <c:pt idx="476">
                  <c:v>361</c:v>
                </c:pt>
                <c:pt idx="477">
                  <c:v>328</c:v>
                </c:pt>
                <c:pt idx="478">
                  <c:v>295</c:v>
                </c:pt>
                <c:pt idx="479">
                  <c:v>281</c:v>
                </c:pt>
                <c:pt idx="480">
                  <c:v>257</c:v>
                </c:pt>
                <c:pt idx="481">
                  <c:v>247</c:v>
                </c:pt>
                <c:pt idx="482">
                  <c:v>243</c:v>
                </c:pt>
                <c:pt idx="483">
                  <c:v>226</c:v>
                </c:pt>
                <c:pt idx="484">
                  <c:v>193</c:v>
                </c:pt>
                <c:pt idx="485">
                  <c:v>185</c:v>
                </c:pt>
                <c:pt idx="486">
                  <c:v>173</c:v>
                </c:pt>
                <c:pt idx="487">
                  <c:v>153</c:v>
                </c:pt>
                <c:pt idx="488">
                  <c:v>143</c:v>
                </c:pt>
                <c:pt idx="489">
                  <c:v>146</c:v>
                </c:pt>
                <c:pt idx="490">
                  <c:v>137</c:v>
                </c:pt>
                <c:pt idx="491">
                  <c:v>133</c:v>
                </c:pt>
                <c:pt idx="492">
                  <c:v>134</c:v>
                </c:pt>
                <c:pt idx="493">
                  <c:v>131</c:v>
                </c:pt>
                <c:pt idx="494">
                  <c:v>130</c:v>
                </c:pt>
                <c:pt idx="495">
                  <c:v>127</c:v>
                </c:pt>
                <c:pt idx="496">
                  <c:v>136</c:v>
                </c:pt>
                <c:pt idx="497">
                  <c:v>126</c:v>
                </c:pt>
                <c:pt idx="498">
                  <c:v>135</c:v>
                </c:pt>
                <c:pt idx="499">
                  <c:v>145</c:v>
                </c:pt>
                <c:pt idx="500">
                  <c:v>14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5DC7-418F-9894-CC9725FB542B}"/>
            </c:ext>
          </c:extLst>
        </c:ser>
        <c:ser>
          <c:idx val="2"/>
          <c:order val="2"/>
          <c:tx>
            <c:strRef>
              <c:f>List1!$D$1</c:f>
              <c:strCache>
                <c:ptCount val="1"/>
                <c:pt idx="0">
                  <c:v>Celkem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numRef>
              <c:f>List1!$A$2:$A$502</c:f>
              <c:numCache>
                <c:formatCode>m/d/yyyy</c:formatCode>
                <c:ptCount val="501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</c:numCache>
            </c:numRef>
          </c:cat>
          <c:val>
            <c:numRef>
              <c:f>List1!$D$2:$D$502</c:f>
              <c:numCache>
                <c:formatCode>General</c:formatCode>
                <c:ptCount val="501"/>
                <c:pt idx="0">
                  <c:v>7</c:v>
                </c:pt>
                <c:pt idx="1">
                  <c:v>6</c:v>
                </c:pt>
                <c:pt idx="2">
                  <c:v>6</c:v>
                </c:pt>
                <c:pt idx="3">
                  <c:v>9</c:v>
                </c:pt>
                <c:pt idx="4">
                  <c:v>7</c:v>
                </c:pt>
                <c:pt idx="5">
                  <c:v>7</c:v>
                </c:pt>
                <c:pt idx="6">
                  <c:v>7</c:v>
                </c:pt>
                <c:pt idx="7">
                  <c:v>8</c:v>
                </c:pt>
                <c:pt idx="8">
                  <c:v>10</c:v>
                </c:pt>
                <c:pt idx="9">
                  <c:v>9</c:v>
                </c:pt>
                <c:pt idx="10">
                  <c:v>9</c:v>
                </c:pt>
                <c:pt idx="11">
                  <c:v>12</c:v>
                </c:pt>
                <c:pt idx="12">
                  <c:v>3</c:v>
                </c:pt>
                <c:pt idx="13">
                  <c:v>5</c:v>
                </c:pt>
                <c:pt idx="14">
                  <c:v>5</c:v>
                </c:pt>
                <c:pt idx="15">
                  <c:v>7</c:v>
                </c:pt>
                <c:pt idx="16">
                  <c:v>8</c:v>
                </c:pt>
                <c:pt idx="17">
                  <c:v>10</c:v>
                </c:pt>
                <c:pt idx="18">
                  <c:v>9</c:v>
                </c:pt>
                <c:pt idx="19">
                  <c:v>14</c:v>
                </c:pt>
                <c:pt idx="20">
                  <c:v>13</c:v>
                </c:pt>
                <c:pt idx="21">
                  <c:v>13</c:v>
                </c:pt>
                <c:pt idx="22">
                  <c:v>14</c:v>
                </c:pt>
                <c:pt idx="23">
                  <c:v>21</c:v>
                </c:pt>
                <c:pt idx="24">
                  <c:v>30</c:v>
                </c:pt>
                <c:pt idx="25">
                  <c:v>39</c:v>
                </c:pt>
                <c:pt idx="26">
                  <c:v>40</c:v>
                </c:pt>
                <c:pt idx="27">
                  <c:v>43</c:v>
                </c:pt>
                <c:pt idx="28">
                  <c:v>66</c:v>
                </c:pt>
                <c:pt idx="29">
                  <c:v>98</c:v>
                </c:pt>
                <c:pt idx="30">
                  <c:v>155</c:v>
                </c:pt>
                <c:pt idx="31">
                  <c:v>299</c:v>
                </c:pt>
                <c:pt idx="32">
                  <c:v>359</c:v>
                </c:pt>
                <c:pt idx="33">
                  <c:v>425</c:v>
                </c:pt>
                <c:pt idx="34">
                  <c:v>665</c:v>
                </c:pt>
                <c:pt idx="35">
                  <c:v>771</c:v>
                </c:pt>
                <c:pt idx="36">
                  <c:v>836</c:v>
                </c:pt>
                <c:pt idx="37">
                  <c:v>985</c:v>
                </c:pt>
                <c:pt idx="38">
                  <c:v>1197</c:v>
                </c:pt>
                <c:pt idx="39">
                  <c:v>1255</c:v>
                </c:pt>
                <c:pt idx="40">
                  <c:v>1236</c:v>
                </c:pt>
                <c:pt idx="41">
                  <c:v>1477</c:v>
                </c:pt>
                <c:pt idx="42">
                  <c:v>1769</c:v>
                </c:pt>
                <c:pt idx="43">
                  <c:v>2065</c:v>
                </c:pt>
                <c:pt idx="44">
                  <c:v>2405</c:v>
                </c:pt>
                <c:pt idx="45">
                  <c:v>2698</c:v>
                </c:pt>
                <c:pt idx="46">
                  <c:v>2843</c:v>
                </c:pt>
                <c:pt idx="47">
                  <c:v>2791</c:v>
                </c:pt>
                <c:pt idx="48">
                  <c:v>3101</c:v>
                </c:pt>
                <c:pt idx="49">
                  <c:v>3351</c:v>
                </c:pt>
                <c:pt idx="50">
                  <c:v>3847</c:v>
                </c:pt>
                <c:pt idx="51">
                  <c:v>4162</c:v>
                </c:pt>
                <c:pt idx="52">
                  <c:v>4707</c:v>
                </c:pt>
                <c:pt idx="53">
                  <c:v>4862</c:v>
                </c:pt>
                <c:pt idx="54">
                  <c:v>4869</c:v>
                </c:pt>
                <c:pt idx="55">
                  <c:v>5211</c:v>
                </c:pt>
                <c:pt idx="56">
                  <c:v>5710</c:v>
                </c:pt>
                <c:pt idx="57">
                  <c:v>5748</c:v>
                </c:pt>
                <c:pt idx="58">
                  <c:v>6582</c:v>
                </c:pt>
                <c:pt idx="59">
                  <c:v>7011</c:v>
                </c:pt>
                <c:pt idx="60">
                  <c:v>7015</c:v>
                </c:pt>
                <c:pt idx="61">
                  <c:v>6749</c:v>
                </c:pt>
                <c:pt idx="62">
                  <c:v>6827</c:v>
                </c:pt>
                <c:pt idx="63">
                  <c:v>6681</c:v>
                </c:pt>
                <c:pt idx="64">
                  <c:v>7082</c:v>
                </c:pt>
                <c:pt idx="65">
                  <c:v>7586</c:v>
                </c:pt>
                <c:pt idx="66">
                  <c:v>7264</c:v>
                </c:pt>
                <c:pt idx="67">
                  <c:v>6666</c:v>
                </c:pt>
                <c:pt idx="68">
                  <c:v>6486</c:v>
                </c:pt>
                <c:pt idx="69">
                  <c:v>6089</c:v>
                </c:pt>
                <c:pt idx="70">
                  <c:v>5828</c:v>
                </c:pt>
                <c:pt idx="71">
                  <c:v>6364</c:v>
                </c:pt>
                <c:pt idx="72">
                  <c:v>6869</c:v>
                </c:pt>
                <c:pt idx="73">
                  <c:v>6820</c:v>
                </c:pt>
                <c:pt idx="74">
                  <c:v>6276</c:v>
                </c:pt>
                <c:pt idx="75">
                  <c:v>5921</c:v>
                </c:pt>
                <c:pt idx="76">
                  <c:v>5891</c:v>
                </c:pt>
                <c:pt idx="77">
                  <c:v>5517</c:v>
                </c:pt>
                <c:pt idx="78">
                  <c:v>5806</c:v>
                </c:pt>
                <c:pt idx="79">
                  <c:v>6028</c:v>
                </c:pt>
                <c:pt idx="80">
                  <c:v>6029</c:v>
                </c:pt>
                <c:pt idx="81">
                  <c:v>5390</c:v>
                </c:pt>
                <c:pt idx="82">
                  <c:v>4930</c:v>
                </c:pt>
                <c:pt idx="83">
                  <c:v>5032</c:v>
                </c:pt>
                <c:pt idx="84">
                  <c:v>4685</c:v>
                </c:pt>
                <c:pt idx="85">
                  <c:v>4703</c:v>
                </c:pt>
                <c:pt idx="86">
                  <c:v>4820</c:v>
                </c:pt>
                <c:pt idx="87">
                  <c:v>4538</c:v>
                </c:pt>
                <c:pt idx="88">
                  <c:v>4469</c:v>
                </c:pt>
                <c:pt idx="89">
                  <c:v>4066</c:v>
                </c:pt>
                <c:pt idx="90">
                  <c:v>3940</c:v>
                </c:pt>
                <c:pt idx="91">
                  <c:v>3748</c:v>
                </c:pt>
                <c:pt idx="92">
                  <c:v>3826</c:v>
                </c:pt>
                <c:pt idx="93">
                  <c:v>3922</c:v>
                </c:pt>
                <c:pt idx="94">
                  <c:v>3745</c:v>
                </c:pt>
                <c:pt idx="95">
                  <c:v>3516</c:v>
                </c:pt>
                <c:pt idx="96">
                  <c:v>3290</c:v>
                </c:pt>
                <c:pt idx="97">
                  <c:v>3302</c:v>
                </c:pt>
                <c:pt idx="98">
                  <c:v>3145</c:v>
                </c:pt>
                <c:pt idx="99">
                  <c:v>3238</c:v>
                </c:pt>
                <c:pt idx="100">
                  <c:v>3334</c:v>
                </c:pt>
                <c:pt idx="101">
                  <c:v>3302</c:v>
                </c:pt>
                <c:pt idx="102">
                  <c:v>3138</c:v>
                </c:pt>
                <c:pt idx="103">
                  <c:v>3051</c:v>
                </c:pt>
                <c:pt idx="104">
                  <c:v>3096</c:v>
                </c:pt>
                <c:pt idx="105">
                  <c:v>3079</c:v>
                </c:pt>
                <c:pt idx="106">
                  <c:v>3149</c:v>
                </c:pt>
                <c:pt idx="107">
                  <c:v>3186</c:v>
                </c:pt>
                <c:pt idx="108">
                  <c:v>3188</c:v>
                </c:pt>
                <c:pt idx="109">
                  <c:v>3003</c:v>
                </c:pt>
                <c:pt idx="110">
                  <c:v>2886</c:v>
                </c:pt>
                <c:pt idx="111">
                  <c:v>3035</c:v>
                </c:pt>
                <c:pt idx="112">
                  <c:v>3094</c:v>
                </c:pt>
                <c:pt idx="113">
                  <c:v>3204</c:v>
                </c:pt>
                <c:pt idx="114">
                  <c:v>3185</c:v>
                </c:pt>
                <c:pt idx="115">
                  <c:v>3030</c:v>
                </c:pt>
                <c:pt idx="116">
                  <c:v>2962</c:v>
                </c:pt>
                <c:pt idx="117">
                  <c:v>2932</c:v>
                </c:pt>
                <c:pt idx="118">
                  <c:v>3090</c:v>
                </c:pt>
                <c:pt idx="119">
                  <c:v>3226</c:v>
                </c:pt>
                <c:pt idx="120">
                  <c:v>3400</c:v>
                </c:pt>
                <c:pt idx="121">
                  <c:v>3548</c:v>
                </c:pt>
                <c:pt idx="122">
                  <c:v>3319</c:v>
                </c:pt>
                <c:pt idx="123">
                  <c:v>3214</c:v>
                </c:pt>
                <c:pt idx="124">
                  <c:v>2982</c:v>
                </c:pt>
                <c:pt idx="125">
                  <c:v>3474</c:v>
                </c:pt>
                <c:pt idx="126">
                  <c:v>3686</c:v>
                </c:pt>
                <c:pt idx="127">
                  <c:v>3848</c:v>
                </c:pt>
                <c:pt idx="128">
                  <c:v>4050</c:v>
                </c:pt>
                <c:pt idx="129">
                  <c:v>3953</c:v>
                </c:pt>
                <c:pt idx="130">
                  <c:v>3705</c:v>
                </c:pt>
                <c:pt idx="131">
                  <c:v>3441</c:v>
                </c:pt>
                <c:pt idx="132">
                  <c:v>3729</c:v>
                </c:pt>
                <c:pt idx="133">
                  <c:v>3877</c:v>
                </c:pt>
                <c:pt idx="134">
                  <c:v>4053</c:v>
                </c:pt>
                <c:pt idx="135">
                  <c:v>4101</c:v>
                </c:pt>
                <c:pt idx="136">
                  <c:v>3875</c:v>
                </c:pt>
                <c:pt idx="137">
                  <c:v>3537</c:v>
                </c:pt>
                <c:pt idx="138">
                  <c:v>3272</c:v>
                </c:pt>
                <c:pt idx="139">
                  <c:v>3211</c:v>
                </c:pt>
                <c:pt idx="140">
                  <c:v>3047</c:v>
                </c:pt>
                <c:pt idx="141">
                  <c:v>3164</c:v>
                </c:pt>
                <c:pt idx="142">
                  <c:v>3262</c:v>
                </c:pt>
                <c:pt idx="143">
                  <c:v>3039</c:v>
                </c:pt>
                <c:pt idx="144">
                  <c:v>2896</c:v>
                </c:pt>
                <c:pt idx="145">
                  <c:v>2685</c:v>
                </c:pt>
                <c:pt idx="146">
                  <c:v>2658</c:v>
                </c:pt>
                <c:pt idx="147">
                  <c:v>2608</c:v>
                </c:pt>
                <c:pt idx="148">
                  <c:v>2688</c:v>
                </c:pt>
                <c:pt idx="149">
                  <c:v>2735</c:v>
                </c:pt>
                <c:pt idx="150">
                  <c:v>2509</c:v>
                </c:pt>
                <c:pt idx="151">
                  <c:v>2401</c:v>
                </c:pt>
                <c:pt idx="152">
                  <c:v>2186</c:v>
                </c:pt>
                <c:pt idx="153">
                  <c:v>2235</c:v>
                </c:pt>
                <c:pt idx="154">
                  <c:v>2247</c:v>
                </c:pt>
                <c:pt idx="155">
                  <c:v>2341</c:v>
                </c:pt>
                <c:pt idx="156">
                  <c:v>2391</c:v>
                </c:pt>
                <c:pt idx="157">
                  <c:v>2309</c:v>
                </c:pt>
                <c:pt idx="158">
                  <c:v>2179</c:v>
                </c:pt>
                <c:pt idx="159">
                  <c:v>2081</c:v>
                </c:pt>
                <c:pt idx="160">
                  <c:v>2120</c:v>
                </c:pt>
                <c:pt idx="161">
                  <c:v>2082</c:v>
                </c:pt>
                <c:pt idx="162">
                  <c:v>2139</c:v>
                </c:pt>
                <c:pt idx="163">
                  <c:v>2211</c:v>
                </c:pt>
                <c:pt idx="164">
                  <c:v>2138</c:v>
                </c:pt>
                <c:pt idx="165">
                  <c:v>1958</c:v>
                </c:pt>
                <c:pt idx="166">
                  <c:v>1815</c:v>
                </c:pt>
                <c:pt idx="167">
                  <c:v>1812</c:v>
                </c:pt>
                <c:pt idx="168">
                  <c:v>1718</c:v>
                </c:pt>
                <c:pt idx="169">
                  <c:v>1716</c:v>
                </c:pt>
                <c:pt idx="170">
                  <c:v>1745</c:v>
                </c:pt>
                <c:pt idx="171">
                  <c:v>1658</c:v>
                </c:pt>
                <c:pt idx="172">
                  <c:v>1557</c:v>
                </c:pt>
                <c:pt idx="173">
                  <c:v>1458</c:v>
                </c:pt>
                <c:pt idx="174">
                  <c:v>1534</c:v>
                </c:pt>
                <c:pt idx="175">
                  <c:v>1522</c:v>
                </c:pt>
                <c:pt idx="176">
                  <c:v>1547</c:v>
                </c:pt>
                <c:pt idx="177">
                  <c:v>1603</c:v>
                </c:pt>
                <c:pt idx="178">
                  <c:v>1569</c:v>
                </c:pt>
                <c:pt idx="179">
                  <c:v>1488</c:v>
                </c:pt>
                <c:pt idx="180">
                  <c:v>1434</c:v>
                </c:pt>
                <c:pt idx="181">
                  <c:v>1506</c:v>
                </c:pt>
                <c:pt idx="182">
                  <c:v>1465</c:v>
                </c:pt>
                <c:pt idx="183">
                  <c:v>1513</c:v>
                </c:pt>
                <c:pt idx="184">
                  <c:v>1534</c:v>
                </c:pt>
                <c:pt idx="185">
                  <c:v>1416</c:v>
                </c:pt>
                <c:pt idx="186">
                  <c:v>1336</c:v>
                </c:pt>
                <c:pt idx="187">
                  <c:v>1260</c:v>
                </c:pt>
                <c:pt idx="188">
                  <c:v>1275</c:v>
                </c:pt>
                <c:pt idx="189">
                  <c:v>1284</c:v>
                </c:pt>
                <c:pt idx="190">
                  <c:v>1346</c:v>
                </c:pt>
                <c:pt idx="191">
                  <c:v>1360</c:v>
                </c:pt>
                <c:pt idx="192">
                  <c:v>1397</c:v>
                </c:pt>
                <c:pt idx="193">
                  <c:v>1404</c:v>
                </c:pt>
                <c:pt idx="194">
                  <c:v>1410</c:v>
                </c:pt>
                <c:pt idx="195">
                  <c:v>1470</c:v>
                </c:pt>
                <c:pt idx="196">
                  <c:v>1368</c:v>
                </c:pt>
                <c:pt idx="197">
                  <c:v>1324</c:v>
                </c:pt>
                <c:pt idx="198">
                  <c:v>1272</c:v>
                </c:pt>
                <c:pt idx="199">
                  <c:v>1252</c:v>
                </c:pt>
                <c:pt idx="200">
                  <c:v>1199</c:v>
                </c:pt>
                <c:pt idx="201">
                  <c:v>1193</c:v>
                </c:pt>
                <c:pt idx="202">
                  <c:v>1223</c:v>
                </c:pt>
                <c:pt idx="203">
                  <c:v>1180</c:v>
                </c:pt>
                <c:pt idx="204">
                  <c:v>1119</c:v>
                </c:pt>
                <c:pt idx="205">
                  <c:v>1087</c:v>
                </c:pt>
                <c:pt idx="206">
                  <c:v>1056</c:v>
                </c:pt>
                <c:pt idx="207">
                  <c:v>999</c:v>
                </c:pt>
                <c:pt idx="208">
                  <c:v>990</c:v>
                </c:pt>
                <c:pt idx="209">
                  <c:v>1009</c:v>
                </c:pt>
                <c:pt idx="210">
                  <c:v>964</c:v>
                </c:pt>
                <c:pt idx="211">
                  <c:v>928</c:v>
                </c:pt>
                <c:pt idx="212">
                  <c:v>904</c:v>
                </c:pt>
                <c:pt idx="213">
                  <c:v>850</c:v>
                </c:pt>
                <c:pt idx="214">
                  <c:v>824</c:v>
                </c:pt>
                <c:pt idx="215">
                  <c:v>822</c:v>
                </c:pt>
                <c:pt idx="216">
                  <c:v>823</c:v>
                </c:pt>
                <c:pt idx="217">
                  <c:v>779</c:v>
                </c:pt>
                <c:pt idx="218">
                  <c:v>768</c:v>
                </c:pt>
                <c:pt idx="219">
                  <c:v>751</c:v>
                </c:pt>
                <c:pt idx="220">
                  <c:v>716</c:v>
                </c:pt>
                <c:pt idx="221">
                  <c:v>697</c:v>
                </c:pt>
                <c:pt idx="222">
                  <c:v>692</c:v>
                </c:pt>
                <c:pt idx="223">
                  <c:v>697</c:v>
                </c:pt>
                <c:pt idx="224">
                  <c:v>662</c:v>
                </c:pt>
                <c:pt idx="225">
                  <c:v>633</c:v>
                </c:pt>
                <c:pt idx="226">
                  <c:v>617</c:v>
                </c:pt>
                <c:pt idx="227">
                  <c:v>599</c:v>
                </c:pt>
                <c:pt idx="228">
                  <c:v>596</c:v>
                </c:pt>
                <c:pt idx="229">
                  <c:v>594</c:v>
                </c:pt>
                <c:pt idx="230">
                  <c:v>606</c:v>
                </c:pt>
                <c:pt idx="231">
                  <c:v>594</c:v>
                </c:pt>
                <c:pt idx="232">
                  <c:v>564</c:v>
                </c:pt>
                <c:pt idx="233">
                  <c:v>545</c:v>
                </c:pt>
                <c:pt idx="234">
                  <c:v>539</c:v>
                </c:pt>
                <c:pt idx="235">
                  <c:v>526</c:v>
                </c:pt>
                <c:pt idx="236">
                  <c:v>523</c:v>
                </c:pt>
                <c:pt idx="237">
                  <c:v>528</c:v>
                </c:pt>
                <c:pt idx="238">
                  <c:v>523</c:v>
                </c:pt>
                <c:pt idx="239">
                  <c:v>517</c:v>
                </c:pt>
                <c:pt idx="240">
                  <c:v>512</c:v>
                </c:pt>
                <c:pt idx="241">
                  <c:v>509</c:v>
                </c:pt>
                <c:pt idx="242">
                  <c:v>500</c:v>
                </c:pt>
                <c:pt idx="243">
                  <c:v>499</c:v>
                </c:pt>
                <c:pt idx="244">
                  <c:v>501</c:v>
                </c:pt>
                <c:pt idx="245">
                  <c:v>487</c:v>
                </c:pt>
                <c:pt idx="246">
                  <c:v>479</c:v>
                </c:pt>
                <c:pt idx="247">
                  <c:v>474</c:v>
                </c:pt>
                <c:pt idx="248">
                  <c:v>471</c:v>
                </c:pt>
                <c:pt idx="249">
                  <c:v>460</c:v>
                </c:pt>
                <c:pt idx="250">
                  <c:v>461</c:v>
                </c:pt>
                <c:pt idx="251">
                  <c:v>466</c:v>
                </c:pt>
                <c:pt idx="252">
                  <c:v>462</c:v>
                </c:pt>
                <c:pt idx="253">
                  <c:v>455</c:v>
                </c:pt>
                <c:pt idx="254">
                  <c:v>454</c:v>
                </c:pt>
                <c:pt idx="255">
                  <c:v>453</c:v>
                </c:pt>
                <c:pt idx="256">
                  <c:v>448</c:v>
                </c:pt>
                <c:pt idx="257">
                  <c:v>447</c:v>
                </c:pt>
                <c:pt idx="258">
                  <c:v>451</c:v>
                </c:pt>
                <c:pt idx="259">
                  <c:v>448</c:v>
                </c:pt>
                <c:pt idx="260">
                  <c:v>447</c:v>
                </c:pt>
                <c:pt idx="261">
                  <c:v>445</c:v>
                </c:pt>
                <c:pt idx="262">
                  <c:v>444</c:v>
                </c:pt>
                <c:pt idx="263">
                  <c:v>440</c:v>
                </c:pt>
                <c:pt idx="264">
                  <c:v>439</c:v>
                </c:pt>
                <c:pt idx="265">
                  <c:v>442</c:v>
                </c:pt>
                <c:pt idx="266">
                  <c:v>439</c:v>
                </c:pt>
                <c:pt idx="267">
                  <c:v>435</c:v>
                </c:pt>
                <c:pt idx="268">
                  <c:v>432</c:v>
                </c:pt>
                <c:pt idx="269">
                  <c:v>429</c:v>
                </c:pt>
                <c:pt idx="270">
                  <c:v>427</c:v>
                </c:pt>
                <c:pt idx="271">
                  <c:v>424</c:v>
                </c:pt>
                <c:pt idx="272">
                  <c:v>422</c:v>
                </c:pt>
                <c:pt idx="273">
                  <c:v>418</c:v>
                </c:pt>
                <c:pt idx="274">
                  <c:v>418</c:v>
                </c:pt>
                <c:pt idx="275">
                  <c:v>413</c:v>
                </c:pt>
                <c:pt idx="276">
                  <c:v>408</c:v>
                </c:pt>
                <c:pt idx="277">
                  <c:v>407</c:v>
                </c:pt>
                <c:pt idx="278">
                  <c:v>407</c:v>
                </c:pt>
                <c:pt idx="279">
                  <c:v>406</c:v>
                </c:pt>
                <c:pt idx="280">
                  <c:v>404</c:v>
                </c:pt>
                <c:pt idx="281">
                  <c:v>401</c:v>
                </c:pt>
                <c:pt idx="282">
                  <c:v>400</c:v>
                </c:pt>
                <c:pt idx="283">
                  <c:v>401</c:v>
                </c:pt>
                <c:pt idx="284">
                  <c:v>398</c:v>
                </c:pt>
                <c:pt idx="285">
                  <c:v>398</c:v>
                </c:pt>
                <c:pt idx="286">
                  <c:v>398</c:v>
                </c:pt>
                <c:pt idx="287">
                  <c:v>398</c:v>
                </c:pt>
                <c:pt idx="288">
                  <c:v>398</c:v>
                </c:pt>
                <c:pt idx="289">
                  <c:v>397</c:v>
                </c:pt>
                <c:pt idx="290">
                  <c:v>397</c:v>
                </c:pt>
                <c:pt idx="291">
                  <c:v>397</c:v>
                </c:pt>
                <c:pt idx="292">
                  <c:v>397</c:v>
                </c:pt>
                <c:pt idx="293">
                  <c:v>397</c:v>
                </c:pt>
                <c:pt idx="294">
                  <c:v>397</c:v>
                </c:pt>
                <c:pt idx="295">
                  <c:v>398</c:v>
                </c:pt>
                <c:pt idx="296">
                  <c:v>398</c:v>
                </c:pt>
                <c:pt idx="297">
                  <c:v>396</c:v>
                </c:pt>
                <c:pt idx="298">
                  <c:v>396</c:v>
                </c:pt>
                <c:pt idx="299">
                  <c:v>396</c:v>
                </c:pt>
                <c:pt idx="300">
                  <c:v>396</c:v>
                </c:pt>
                <c:pt idx="301">
                  <c:v>396</c:v>
                </c:pt>
                <c:pt idx="302">
                  <c:v>396</c:v>
                </c:pt>
                <c:pt idx="303">
                  <c:v>397</c:v>
                </c:pt>
                <c:pt idx="304">
                  <c:v>395</c:v>
                </c:pt>
                <c:pt idx="305">
                  <c:v>395</c:v>
                </c:pt>
                <c:pt idx="306">
                  <c:v>396</c:v>
                </c:pt>
                <c:pt idx="307">
                  <c:v>396</c:v>
                </c:pt>
                <c:pt idx="308">
                  <c:v>396</c:v>
                </c:pt>
                <c:pt idx="309">
                  <c:v>396</c:v>
                </c:pt>
                <c:pt idx="310">
                  <c:v>395</c:v>
                </c:pt>
                <c:pt idx="311">
                  <c:v>395</c:v>
                </c:pt>
                <c:pt idx="312">
                  <c:v>395</c:v>
                </c:pt>
                <c:pt idx="313">
                  <c:v>396</c:v>
                </c:pt>
                <c:pt idx="314">
                  <c:v>396</c:v>
                </c:pt>
                <c:pt idx="315">
                  <c:v>396</c:v>
                </c:pt>
                <c:pt idx="316">
                  <c:v>396</c:v>
                </c:pt>
                <c:pt idx="317">
                  <c:v>396</c:v>
                </c:pt>
                <c:pt idx="318">
                  <c:v>395</c:v>
                </c:pt>
                <c:pt idx="319">
                  <c:v>395</c:v>
                </c:pt>
                <c:pt idx="320">
                  <c:v>395</c:v>
                </c:pt>
                <c:pt idx="321">
                  <c:v>395</c:v>
                </c:pt>
                <c:pt idx="322">
                  <c:v>394</c:v>
                </c:pt>
                <c:pt idx="323">
                  <c:v>395</c:v>
                </c:pt>
                <c:pt idx="324">
                  <c:v>394</c:v>
                </c:pt>
                <c:pt idx="325">
                  <c:v>394</c:v>
                </c:pt>
                <c:pt idx="326">
                  <c:v>394</c:v>
                </c:pt>
                <c:pt idx="327">
                  <c:v>393</c:v>
                </c:pt>
                <c:pt idx="328">
                  <c:v>392</c:v>
                </c:pt>
                <c:pt idx="329">
                  <c:v>393</c:v>
                </c:pt>
                <c:pt idx="330">
                  <c:v>394</c:v>
                </c:pt>
                <c:pt idx="331">
                  <c:v>394</c:v>
                </c:pt>
                <c:pt idx="332">
                  <c:v>393</c:v>
                </c:pt>
                <c:pt idx="333">
                  <c:v>393</c:v>
                </c:pt>
                <c:pt idx="334">
                  <c:v>393</c:v>
                </c:pt>
                <c:pt idx="335">
                  <c:v>393</c:v>
                </c:pt>
                <c:pt idx="336">
                  <c:v>392</c:v>
                </c:pt>
                <c:pt idx="337">
                  <c:v>392</c:v>
                </c:pt>
                <c:pt idx="338">
                  <c:v>391</c:v>
                </c:pt>
                <c:pt idx="339">
                  <c:v>391</c:v>
                </c:pt>
                <c:pt idx="340">
                  <c:v>391</c:v>
                </c:pt>
                <c:pt idx="341">
                  <c:v>392</c:v>
                </c:pt>
                <c:pt idx="342">
                  <c:v>392</c:v>
                </c:pt>
                <c:pt idx="343">
                  <c:v>391</c:v>
                </c:pt>
                <c:pt idx="344">
                  <c:v>391</c:v>
                </c:pt>
                <c:pt idx="345">
                  <c:v>391</c:v>
                </c:pt>
                <c:pt idx="346">
                  <c:v>391</c:v>
                </c:pt>
                <c:pt idx="347">
                  <c:v>391</c:v>
                </c:pt>
                <c:pt idx="348">
                  <c:v>391</c:v>
                </c:pt>
                <c:pt idx="349">
                  <c:v>392</c:v>
                </c:pt>
                <c:pt idx="350">
                  <c:v>392</c:v>
                </c:pt>
                <c:pt idx="351">
                  <c:v>392</c:v>
                </c:pt>
                <c:pt idx="352">
                  <c:v>393</c:v>
                </c:pt>
                <c:pt idx="353">
                  <c:v>392</c:v>
                </c:pt>
                <c:pt idx="354">
                  <c:v>392</c:v>
                </c:pt>
                <c:pt idx="355">
                  <c:v>392</c:v>
                </c:pt>
                <c:pt idx="356">
                  <c:v>395</c:v>
                </c:pt>
                <c:pt idx="357">
                  <c:v>395</c:v>
                </c:pt>
                <c:pt idx="358">
                  <c:v>395</c:v>
                </c:pt>
                <c:pt idx="359">
                  <c:v>395</c:v>
                </c:pt>
                <c:pt idx="360">
                  <c:v>396</c:v>
                </c:pt>
                <c:pt idx="361">
                  <c:v>395</c:v>
                </c:pt>
                <c:pt idx="362">
                  <c:v>395</c:v>
                </c:pt>
                <c:pt idx="363">
                  <c:v>395</c:v>
                </c:pt>
                <c:pt idx="364">
                  <c:v>395</c:v>
                </c:pt>
                <c:pt idx="365">
                  <c:v>399</c:v>
                </c:pt>
                <c:pt idx="366">
                  <c:v>404</c:v>
                </c:pt>
                <c:pt idx="367">
                  <c:v>407</c:v>
                </c:pt>
                <c:pt idx="368">
                  <c:v>408</c:v>
                </c:pt>
                <c:pt idx="369">
                  <c:v>407</c:v>
                </c:pt>
                <c:pt idx="370">
                  <c:v>412</c:v>
                </c:pt>
                <c:pt idx="371">
                  <c:v>410</c:v>
                </c:pt>
                <c:pt idx="372">
                  <c:v>411</c:v>
                </c:pt>
                <c:pt idx="373">
                  <c:v>412</c:v>
                </c:pt>
                <c:pt idx="374">
                  <c:v>412</c:v>
                </c:pt>
                <c:pt idx="375">
                  <c:v>411</c:v>
                </c:pt>
                <c:pt idx="376">
                  <c:v>410</c:v>
                </c:pt>
                <c:pt idx="377">
                  <c:v>411</c:v>
                </c:pt>
                <c:pt idx="378">
                  <c:v>412</c:v>
                </c:pt>
                <c:pt idx="379">
                  <c:v>411</c:v>
                </c:pt>
                <c:pt idx="380">
                  <c:v>410</c:v>
                </c:pt>
                <c:pt idx="381">
                  <c:v>407</c:v>
                </c:pt>
                <c:pt idx="382">
                  <c:v>405</c:v>
                </c:pt>
                <c:pt idx="383">
                  <c:v>405</c:v>
                </c:pt>
                <c:pt idx="384">
                  <c:v>410</c:v>
                </c:pt>
                <c:pt idx="385">
                  <c:v>410</c:v>
                </c:pt>
                <c:pt idx="386">
                  <c:v>410</c:v>
                </c:pt>
                <c:pt idx="387">
                  <c:v>408</c:v>
                </c:pt>
                <c:pt idx="388">
                  <c:v>408</c:v>
                </c:pt>
                <c:pt idx="389">
                  <c:v>409</c:v>
                </c:pt>
                <c:pt idx="390">
                  <c:v>410</c:v>
                </c:pt>
                <c:pt idx="391">
                  <c:v>416</c:v>
                </c:pt>
                <c:pt idx="392">
                  <c:v>416</c:v>
                </c:pt>
                <c:pt idx="393">
                  <c:v>422</c:v>
                </c:pt>
                <c:pt idx="394">
                  <c:v>423</c:v>
                </c:pt>
                <c:pt idx="395">
                  <c:v>425</c:v>
                </c:pt>
                <c:pt idx="396">
                  <c:v>425</c:v>
                </c:pt>
                <c:pt idx="397">
                  <c:v>425</c:v>
                </c:pt>
                <c:pt idx="398">
                  <c:v>429</c:v>
                </c:pt>
                <c:pt idx="399">
                  <c:v>433</c:v>
                </c:pt>
                <c:pt idx="400">
                  <c:v>441</c:v>
                </c:pt>
                <c:pt idx="401">
                  <c:v>441</c:v>
                </c:pt>
                <c:pt idx="402">
                  <c:v>467</c:v>
                </c:pt>
                <c:pt idx="403">
                  <c:v>468</c:v>
                </c:pt>
                <c:pt idx="404">
                  <c:v>466</c:v>
                </c:pt>
                <c:pt idx="405">
                  <c:v>469</c:v>
                </c:pt>
                <c:pt idx="406">
                  <c:v>465</c:v>
                </c:pt>
                <c:pt idx="407">
                  <c:v>484</c:v>
                </c:pt>
                <c:pt idx="408">
                  <c:v>482</c:v>
                </c:pt>
                <c:pt idx="409">
                  <c:v>487</c:v>
                </c:pt>
                <c:pt idx="410">
                  <c:v>487</c:v>
                </c:pt>
                <c:pt idx="411">
                  <c:v>487</c:v>
                </c:pt>
                <c:pt idx="412">
                  <c:v>503</c:v>
                </c:pt>
                <c:pt idx="413">
                  <c:v>508</c:v>
                </c:pt>
                <c:pt idx="414">
                  <c:v>510</c:v>
                </c:pt>
                <c:pt idx="415">
                  <c:v>513</c:v>
                </c:pt>
                <c:pt idx="416">
                  <c:v>502</c:v>
                </c:pt>
                <c:pt idx="417">
                  <c:v>497</c:v>
                </c:pt>
                <c:pt idx="418">
                  <c:v>498</c:v>
                </c:pt>
                <c:pt idx="419">
                  <c:v>529</c:v>
                </c:pt>
                <c:pt idx="420">
                  <c:v>539</c:v>
                </c:pt>
                <c:pt idx="421">
                  <c:v>561</c:v>
                </c:pt>
                <c:pt idx="422">
                  <c:v>546</c:v>
                </c:pt>
                <c:pt idx="423">
                  <c:v>569</c:v>
                </c:pt>
                <c:pt idx="424">
                  <c:v>572</c:v>
                </c:pt>
                <c:pt idx="425">
                  <c:v>582</c:v>
                </c:pt>
                <c:pt idx="426">
                  <c:v>658</c:v>
                </c:pt>
                <c:pt idx="427">
                  <c:v>678</c:v>
                </c:pt>
                <c:pt idx="428">
                  <c:v>695</c:v>
                </c:pt>
                <c:pt idx="429">
                  <c:v>755</c:v>
                </c:pt>
                <c:pt idx="430">
                  <c:v>792</c:v>
                </c:pt>
                <c:pt idx="431">
                  <c:v>793</c:v>
                </c:pt>
                <c:pt idx="432">
                  <c:v>794</c:v>
                </c:pt>
                <c:pt idx="433">
                  <c:v>865</c:v>
                </c:pt>
                <c:pt idx="434">
                  <c:v>892</c:v>
                </c:pt>
                <c:pt idx="435">
                  <c:v>908</c:v>
                </c:pt>
                <c:pt idx="436">
                  <c:v>943</c:v>
                </c:pt>
                <c:pt idx="437">
                  <c:v>984</c:v>
                </c:pt>
                <c:pt idx="438">
                  <c:v>989</c:v>
                </c:pt>
                <c:pt idx="439">
                  <c:v>1000</c:v>
                </c:pt>
                <c:pt idx="440">
                  <c:v>1077</c:v>
                </c:pt>
                <c:pt idx="441">
                  <c:v>1075</c:v>
                </c:pt>
                <c:pt idx="442">
                  <c:v>1060</c:v>
                </c:pt>
                <c:pt idx="443">
                  <c:v>1108</c:v>
                </c:pt>
                <c:pt idx="444">
                  <c:v>1187</c:v>
                </c:pt>
                <c:pt idx="445">
                  <c:v>1177</c:v>
                </c:pt>
                <c:pt idx="446">
                  <c:v>1171</c:v>
                </c:pt>
                <c:pt idx="447">
                  <c:v>1270</c:v>
                </c:pt>
                <c:pt idx="448">
                  <c:v>1260</c:v>
                </c:pt>
                <c:pt idx="449">
                  <c:v>1275</c:v>
                </c:pt>
                <c:pt idx="450">
                  <c:v>1277</c:v>
                </c:pt>
                <c:pt idx="451">
                  <c:v>1316</c:v>
                </c:pt>
                <c:pt idx="452">
                  <c:v>1289</c:v>
                </c:pt>
                <c:pt idx="453">
                  <c:v>1279</c:v>
                </c:pt>
                <c:pt idx="454">
                  <c:v>1342</c:v>
                </c:pt>
                <c:pt idx="455">
                  <c:v>1302</c:v>
                </c:pt>
                <c:pt idx="456">
                  <c:v>1265</c:v>
                </c:pt>
                <c:pt idx="457">
                  <c:v>1281</c:v>
                </c:pt>
                <c:pt idx="458">
                  <c:v>1136</c:v>
                </c:pt>
                <c:pt idx="459">
                  <c:v>1122</c:v>
                </c:pt>
                <c:pt idx="460">
                  <c:v>1092</c:v>
                </c:pt>
                <c:pt idx="461">
                  <c:v>1144</c:v>
                </c:pt>
                <c:pt idx="462">
                  <c:v>1084</c:v>
                </c:pt>
                <c:pt idx="463">
                  <c:v>1053</c:v>
                </c:pt>
                <c:pt idx="464">
                  <c:v>1004</c:v>
                </c:pt>
                <c:pt idx="465">
                  <c:v>941</c:v>
                </c:pt>
                <c:pt idx="466">
                  <c:v>893</c:v>
                </c:pt>
                <c:pt idx="467">
                  <c:v>883</c:v>
                </c:pt>
                <c:pt idx="468">
                  <c:v>909</c:v>
                </c:pt>
                <c:pt idx="469">
                  <c:v>866</c:v>
                </c:pt>
                <c:pt idx="470">
                  <c:v>826</c:v>
                </c:pt>
                <c:pt idx="471">
                  <c:v>779</c:v>
                </c:pt>
                <c:pt idx="472">
                  <c:v>739</c:v>
                </c:pt>
                <c:pt idx="473">
                  <c:v>646</c:v>
                </c:pt>
                <c:pt idx="474">
                  <c:v>641</c:v>
                </c:pt>
                <c:pt idx="475">
                  <c:v>663</c:v>
                </c:pt>
                <c:pt idx="476">
                  <c:v>591</c:v>
                </c:pt>
                <c:pt idx="477">
                  <c:v>539</c:v>
                </c:pt>
                <c:pt idx="478">
                  <c:v>476</c:v>
                </c:pt>
                <c:pt idx="479">
                  <c:v>439</c:v>
                </c:pt>
                <c:pt idx="480">
                  <c:v>405</c:v>
                </c:pt>
                <c:pt idx="481">
                  <c:v>390</c:v>
                </c:pt>
                <c:pt idx="482">
                  <c:v>395</c:v>
                </c:pt>
                <c:pt idx="483">
                  <c:v>352</c:v>
                </c:pt>
                <c:pt idx="484">
                  <c:v>313</c:v>
                </c:pt>
                <c:pt idx="485">
                  <c:v>290</c:v>
                </c:pt>
                <c:pt idx="486">
                  <c:v>269</c:v>
                </c:pt>
                <c:pt idx="487">
                  <c:v>239</c:v>
                </c:pt>
                <c:pt idx="488">
                  <c:v>226</c:v>
                </c:pt>
                <c:pt idx="489">
                  <c:v>231</c:v>
                </c:pt>
                <c:pt idx="490">
                  <c:v>210</c:v>
                </c:pt>
                <c:pt idx="491">
                  <c:v>204</c:v>
                </c:pt>
                <c:pt idx="492">
                  <c:v>204</c:v>
                </c:pt>
                <c:pt idx="493">
                  <c:v>202</c:v>
                </c:pt>
                <c:pt idx="494">
                  <c:v>197</c:v>
                </c:pt>
                <c:pt idx="495">
                  <c:v>193</c:v>
                </c:pt>
                <c:pt idx="496">
                  <c:v>200</c:v>
                </c:pt>
                <c:pt idx="497">
                  <c:v>178</c:v>
                </c:pt>
                <c:pt idx="498">
                  <c:v>192</c:v>
                </c:pt>
                <c:pt idx="499">
                  <c:v>202</c:v>
                </c:pt>
                <c:pt idx="500">
                  <c:v>20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5DC7-418F-9894-CC9725FB542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764139039"/>
        <c:axId val="595872255"/>
      </c:lineChart>
      <c:dateAx>
        <c:axId val="764139039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95872255"/>
        <c:crosses val="autoZero"/>
        <c:auto val="1"/>
        <c:lblOffset val="100"/>
        <c:baseTimeUnit val="days"/>
      </c:dateAx>
      <c:valAx>
        <c:axId val="595872255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764139039"/>
        <c:crosses val="autoZero"/>
        <c:crossBetween val="midCat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cs-CZ" dirty="0">
                <a:solidFill>
                  <a:schemeClr val="tx1"/>
                </a:solidFill>
              </a:rPr>
              <a:t>Úmrtí klientů podle</a:t>
            </a:r>
            <a:r>
              <a:rPr lang="cs-CZ" baseline="0" dirty="0">
                <a:solidFill>
                  <a:schemeClr val="tx1"/>
                </a:solidFill>
              </a:rPr>
              <a:t> věku kumulativně</a:t>
            </a:r>
            <a:endParaRPr lang="cs-CZ" dirty="0">
              <a:solidFill>
                <a:schemeClr val="tx1"/>
              </a:solidFill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C$1</c:f>
              <c:strCache>
                <c:ptCount val="1"/>
                <c:pt idx="0">
                  <c:v>Sloupec2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numRef>
              <c:f>List1!$A$2:$A$104</c:f>
              <c:numCache>
                <c:formatCode>General</c:formatCode>
                <c:ptCount val="103"/>
                <c:pt idx="0">
                  <c:v>4</c:v>
                </c:pt>
                <c:pt idx="1">
                  <c:v>5</c:v>
                </c:pt>
                <c:pt idx="2">
                  <c:v>6</c:v>
                </c:pt>
                <c:pt idx="3">
                  <c:v>7</c:v>
                </c:pt>
                <c:pt idx="4">
                  <c:v>8</c:v>
                </c:pt>
                <c:pt idx="5">
                  <c:v>9</c:v>
                </c:pt>
                <c:pt idx="6">
                  <c:v>10</c:v>
                </c:pt>
                <c:pt idx="7">
                  <c:v>11</c:v>
                </c:pt>
                <c:pt idx="8">
                  <c:v>12</c:v>
                </c:pt>
                <c:pt idx="9">
                  <c:v>13</c:v>
                </c:pt>
                <c:pt idx="10">
                  <c:v>14</c:v>
                </c:pt>
                <c:pt idx="11">
                  <c:v>15</c:v>
                </c:pt>
                <c:pt idx="12">
                  <c:v>16</c:v>
                </c:pt>
                <c:pt idx="13">
                  <c:v>17</c:v>
                </c:pt>
                <c:pt idx="14">
                  <c:v>18</c:v>
                </c:pt>
                <c:pt idx="15">
                  <c:v>19</c:v>
                </c:pt>
                <c:pt idx="16">
                  <c:v>20</c:v>
                </c:pt>
                <c:pt idx="17">
                  <c:v>21</c:v>
                </c:pt>
                <c:pt idx="18">
                  <c:v>22</c:v>
                </c:pt>
                <c:pt idx="19">
                  <c:v>23</c:v>
                </c:pt>
                <c:pt idx="20">
                  <c:v>24</c:v>
                </c:pt>
                <c:pt idx="21">
                  <c:v>25</c:v>
                </c:pt>
                <c:pt idx="22">
                  <c:v>26</c:v>
                </c:pt>
                <c:pt idx="23">
                  <c:v>27</c:v>
                </c:pt>
                <c:pt idx="24">
                  <c:v>28</c:v>
                </c:pt>
                <c:pt idx="25">
                  <c:v>29</c:v>
                </c:pt>
                <c:pt idx="26">
                  <c:v>30</c:v>
                </c:pt>
                <c:pt idx="27">
                  <c:v>31</c:v>
                </c:pt>
                <c:pt idx="28">
                  <c:v>32</c:v>
                </c:pt>
                <c:pt idx="29">
                  <c:v>33</c:v>
                </c:pt>
                <c:pt idx="30">
                  <c:v>34</c:v>
                </c:pt>
                <c:pt idx="31">
                  <c:v>35</c:v>
                </c:pt>
                <c:pt idx="32">
                  <c:v>36</c:v>
                </c:pt>
                <c:pt idx="33">
                  <c:v>37</c:v>
                </c:pt>
                <c:pt idx="34">
                  <c:v>38</c:v>
                </c:pt>
                <c:pt idx="35">
                  <c:v>39</c:v>
                </c:pt>
                <c:pt idx="36">
                  <c:v>40</c:v>
                </c:pt>
                <c:pt idx="37">
                  <c:v>41</c:v>
                </c:pt>
                <c:pt idx="38">
                  <c:v>42</c:v>
                </c:pt>
                <c:pt idx="39">
                  <c:v>43</c:v>
                </c:pt>
                <c:pt idx="40">
                  <c:v>44</c:v>
                </c:pt>
                <c:pt idx="41">
                  <c:v>45</c:v>
                </c:pt>
                <c:pt idx="42">
                  <c:v>46</c:v>
                </c:pt>
                <c:pt idx="43">
                  <c:v>47</c:v>
                </c:pt>
                <c:pt idx="44">
                  <c:v>48</c:v>
                </c:pt>
                <c:pt idx="45">
                  <c:v>49</c:v>
                </c:pt>
                <c:pt idx="46">
                  <c:v>50</c:v>
                </c:pt>
                <c:pt idx="47">
                  <c:v>51</c:v>
                </c:pt>
                <c:pt idx="48">
                  <c:v>52</c:v>
                </c:pt>
                <c:pt idx="49">
                  <c:v>53</c:v>
                </c:pt>
                <c:pt idx="50">
                  <c:v>54</c:v>
                </c:pt>
                <c:pt idx="51">
                  <c:v>55</c:v>
                </c:pt>
                <c:pt idx="52">
                  <c:v>56</c:v>
                </c:pt>
                <c:pt idx="53">
                  <c:v>57</c:v>
                </c:pt>
                <c:pt idx="54">
                  <c:v>58</c:v>
                </c:pt>
                <c:pt idx="55">
                  <c:v>59</c:v>
                </c:pt>
                <c:pt idx="56">
                  <c:v>60</c:v>
                </c:pt>
                <c:pt idx="57">
                  <c:v>61</c:v>
                </c:pt>
                <c:pt idx="58">
                  <c:v>62</c:v>
                </c:pt>
                <c:pt idx="59">
                  <c:v>63</c:v>
                </c:pt>
                <c:pt idx="60">
                  <c:v>64</c:v>
                </c:pt>
                <c:pt idx="61">
                  <c:v>65</c:v>
                </c:pt>
                <c:pt idx="62">
                  <c:v>66</c:v>
                </c:pt>
                <c:pt idx="63">
                  <c:v>67</c:v>
                </c:pt>
                <c:pt idx="64">
                  <c:v>68</c:v>
                </c:pt>
                <c:pt idx="65">
                  <c:v>69</c:v>
                </c:pt>
                <c:pt idx="66">
                  <c:v>70</c:v>
                </c:pt>
                <c:pt idx="67">
                  <c:v>71</c:v>
                </c:pt>
                <c:pt idx="68">
                  <c:v>72</c:v>
                </c:pt>
                <c:pt idx="69">
                  <c:v>73</c:v>
                </c:pt>
                <c:pt idx="70">
                  <c:v>74</c:v>
                </c:pt>
                <c:pt idx="71">
                  <c:v>75</c:v>
                </c:pt>
                <c:pt idx="72">
                  <c:v>76</c:v>
                </c:pt>
                <c:pt idx="73">
                  <c:v>77</c:v>
                </c:pt>
                <c:pt idx="74">
                  <c:v>78</c:v>
                </c:pt>
                <c:pt idx="75">
                  <c:v>79</c:v>
                </c:pt>
                <c:pt idx="76">
                  <c:v>80</c:v>
                </c:pt>
                <c:pt idx="77">
                  <c:v>81</c:v>
                </c:pt>
                <c:pt idx="78">
                  <c:v>82</c:v>
                </c:pt>
                <c:pt idx="79">
                  <c:v>83</c:v>
                </c:pt>
                <c:pt idx="80">
                  <c:v>84</c:v>
                </c:pt>
                <c:pt idx="81">
                  <c:v>85</c:v>
                </c:pt>
                <c:pt idx="82">
                  <c:v>86</c:v>
                </c:pt>
                <c:pt idx="83">
                  <c:v>87</c:v>
                </c:pt>
                <c:pt idx="84">
                  <c:v>88</c:v>
                </c:pt>
                <c:pt idx="85">
                  <c:v>89</c:v>
                </c:pt>
                <c:pt idx="86">
                  <c:v>90</c:v>
                </c:pt>
                <c:pt idx="87">
                  <c:v>91</c:v>
                </c:pt>
                <c:pt idx="88">
                  <c:v>92</c:v>
                </c:pt>
                <c:pt idx="89">
                  <c:v>93</c:v>
                </c:pt>
                <c:pt idx="90">
                  <c:v>94</c:v>
                </c:pt>
                <c:pt idx="91">
                  <c:v>95</c:v>
                </c:pt>
                <c:pt idx="92">
                  <c:v>96</c:v>
                </c:pt>
                <c:pt idx="93">
                  <c:v>97</c:v>
                </c:pt>
                <c:pt idx="94">
                  <c:v>98</c:v>
                </c:pt>
                <c:pt idx="95">
                  <c:v>99</c:v>
                </c:pt>
                <c:pt idx="96">
                  <c:v>100</c:v>
                </c:pt>
                <c:pt idx="97">
                  <c:v>101</c:v>
                </c:pt>
                <c:pt idx="98">
                  <c:v>102</c:v>
                </c:pt>
                <c:pt idx="99">
                  <c:v>103</c:v>
                </c:pt>
                <c:pt idx="100">
                  <c:v>104</c:v>
                </c:pt>
                <c:pt idx="101">
                  <c:v>107</c:v>
                </c:pt>
                <c:pt idx="102">
                  <c:v>117</c:v>
                </c:pt>
              </c:numCache>
            </c:numRef>
          </c:cat>
          <c:val>
            <c:numRef>
              <c:f>List1!$C$2:$C$104</c:f>
              <c:numCache>
                <c:formatCode>General</c:formatCode>
                <c:ptCount val="103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1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2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3</c:v>
                </c:pt>
                <c:pt idx="32">
                  <c:v>1</c:v>
                </c:pt>
                <c:pt idx="33">
                  <c:v>1</c:v>
                </c:pt>
                <c:pt idx="34">
                  <c:v>0</c:v>
                </c:pt>
                <c:pt idx="35">
                  <c:v>1</c:v>
                </c:pt>
                <c:pt idx="36">
                  <c:v>0</c:v>
                </c:pt>
                <c:pt idx="37">
                  <c:v>3</c:v>
                </c:pt>
                <c:pt idx="38">
                  <c:v>1</c:v>
                </c:pt>
                <c:pt idx="39">
                  <c:v>3</c:v>
                </c:pt>
                <c:pt idx="40">
                  <c:v>0</c:v>
                </c:pt>
                <c:pt idx="41">
                  <c:v>2</c:v>
                </c:pt>
                <c:pt idx="42">
                  <c:v>2</c:v>
                </c:pt>
                <c:pt idx="43">
                  <c:v>0</c:v>
                </c:pt>
                <c:pt idx="44">
                  <c:v>1</c:v>
                </c:pt>
                <c:pt idx="45">
                  <c:v>2</c:v>
                </c:pt>
                <c:pt idx="46">
                  <c:v>5</c:v>
                </c:pt>
                <c:pt idx="47">
                  <c:v>3</c:v>
                </c:pt>
                <c:pt idx="48">
                  <c:v>3</c:v>
                </c:pt>
                <c:pt idx="49">
                  <c:v>3</c:v>
                </c:pt>
                <c:pt idx="50">
                  <c:v>5</c:v>
                </c:pt>
                <c:pt idx="51">
                  <c:v>3</c:v>
                </c:pt>
                <c:pt idx="52">
                  <c:v>4</c:v>
                </c:pt>
                <c:pt idx="53">
                  <c:v>6</c:v>
                </c:pt>
                <c:pt idx="54">
                  <c:v>3</c:v>
                </c:pt>
                <c:pt idx="55">
                  <c:v>11</c:v>
                </c:pt>
                <c:pt idx="56">
                  <c:v>11</c:v>
                </c:pt>
                <c:pt idx="57">
                  <c:v>16</c:v>
                </c:pt>
                <c:pt idx="58">
                  <c:v>9</c:v>
                </c:pt>
                <c:pt idx="59">
                  <c:v>16</c:v>
                </c:pt>
                <c:pt idx="60">
                  <c:v>20</c:v>
                </c:pt>
                <c:pt idx="61">
                  <c:v>20</c:v>
                </c:pt>
                <c:pt idx="62">
                  <c:v>23</c:v>
                </c:pt>
                <c:pt idx="63">
                  <c:v>31</c:v>
                </c:pt>
                <c:pt idx="64">
                  <c:v>29</c:v>
                </c:pt>
                <c:pt idx="65">
                  <c:v>41</c:v>
                </c:pt>
                <c:pt idx="66">
                  <c:v>47</c:v>
                </c:pt>
                <c:pt idx="67">
                  <c:v>34</c:v>
                </c:pt>
                <c:pt idx="68">
                  <c:v>54</c:v>
                </c:pt>
                <c:pt idx="69">
                  <c:v>62</c:v>
                </c:pt>
                <c:pt idx="70">
                  <c:v>79</c:v>
                </c:pt>
                <c:pt idx="71">
                  <c:v>67</c:v>
                </c:pt>
                <c:pt idx="72">
                  <c:v>85</c:v>
                </c:pt>
                <c:pt idx="73">
                  <c:v>85</c:v>
                </c:pt>
                <c:pt idx="74">
                  <c:v>101</c:v>
                </c:pt>
                <c:pt idx="75">
                  <c:v>110</c:v>
                </c:pt>
                <c:pt idx="76">
                  <c:v>114</c:v>
                </c:pt>
                <c:pt idx="77">
                  <c:v>125</c:v>
                </c:pt>
                <c:pt idx="78">
                  <c:v>110</c:v>
                </c:pt>
                <c:pt idx="79">
                  <c:v>131</c:v>
                </c:pt>
                <c:pt idx="80">
                  <c:v>140</c:v>
                </c:pt>
                <c:pt idx="81">
                  <c:v>155</c:v>
                </c:pt>
                <c:pt idx="82">
                  <c:v>182</c:v>
                </c:pt>
                <c:pt idx="83">
                  <c:v>159</c:v>
                </c:pt>
                <c:pt idx="84">
                  <c:v>197</c:v>
                </c:pt>
                <c:pt idx="85">
                  <c:v>199</c:v>
                </c:pt>
                <c:pt idx="86">
                  <c:v>178</c:v>
                </c:pt>
                <c:pt idx="87">
                  <c:v>179</c:v>
                </c:pt>
                <c:pt idx="88">
                  <c:v>154</c:v>
                </c:pt>
                <c:pt idx="89">
                  <c:v>103</c:v>
                </c:pt>
                <c:pt idx="90">
                  <c:v>90</c:v>
                </c:pt>
                <c:pt idx="91">
                  <c:v>63</c:v>
                </c:pt>
                <c:pt idx="92">
                  <c:v>59</c:v>
                </c:pt>
                <c:pt idx="93">
                  <c:v>50</c:v>
                </c:pt>
                <c:pt idx="94">
                  <c:v>29</c:v>
                </c:pt>
                <c:pt idx="95">
                  <c:v>22</c:v>
                </c:pt>
                <c:pt idx="96">
                  <c:v>9</c:v>
                </c:pt>
                <c:pt idx="97">
                  <c:v>5</c:v>
                </c:pt>
                <c:pt idx="98">
                  <c:v>0</c:v>
                </c:pt>
                <c:pt idx="99">
                  <c:v>0</c:v>
                </c:pt>
                <c:pt idx="100">
                  <c:v>1</c:v>
                </c:pt>
                <c:pt idx="101">
                  <c:v>1</c:v>
                </c:pt>
                <c:pt idx="102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9AA-4DA2-A610-EEBC9E60CBC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axId val="818323535"/>
        <c:axId val="437097648"/>
      </c:barChart>
      <c:catAx>
        <c:axId val="818323535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cs-CZ" dirty="0">
                    <a:solidFill>
                      <a:schemeClr val="tx1"/>
                    </a:solidFill>
                  </a:rPr>
                  <a:t>Věk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cs-CZ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37097648"/>
        <c:crosses val="autoZero"/>
        <c:auto val="1"/>
        <c:lblAlgn val="ctr"/>
        <c:lblOffset val="100"/>
        <c:noMultiLvlLbl val="0"/>
      </c:catAx>
      <c:valAx>
        <c:axId val="437097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cs-CZ" dirty="0">
                    <a:solidFill>
                      <a:schemeClr val="tx1"/>
                    </a:solidFill>
                  </a:rPr>
                  <a:t>Počet klientů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cs-CZ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81832353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cs-CZ" dirty="0">
                <a:solidFill>
                  <a:schemeClr val="tx1"/>
                </a:solidFill>
              </a:rPr>
              <a:t>Pozitivní klienti podle věku kumulativně</a:t>
            </a:r>
            <a:endParaRPr lang="en-US" dirty="0">
              <a:solidFill>
                <a:schemeClr val="tx1"/>
              </a:solidFill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Sloupec2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numRef>
              <c:f>List1!$A$2:$A$104</c:f>
              <c:numCache>
                <c:formatCode>General</c:formatCode>
                <c:ptCount val="103"/>
                <c:pt idx="0">
                  <c:v>4</c:v>
                </c:pt>
                <c:pt idx="1">
                  <c:v>5</c:v>
                </c:pt>
                <c:pt idx="2">
                  <c:v>6</c:v>
                </c:pt>
                <c:pt idx="3">
                  <c:v>7</c:v>
                </c:pt>
                <c:pt idx="4">
                  <c:v>8</c:v>
                </c:pt>
                <c:pt idx="5">
                  <c:v>9</c:v>
                </c:pt>
                <c:pt idx="6">
                  <c:v>10</c:v>
                </c:pt>
                <c:pt idx="7">
                  <c:v>11</c:v>
                </c:pt>
                <c:pt idx="8">
                  <c:v>12</c:v>
                </c:pt>
                <c:pt idx="9">
                  <c:v>13</c:v>
                </c:pt>
                <c:pt idx="10">
                  <c:v>14</c:v>
                </c:pt>
                <c:pt idx="11">
                  <c:v>15</c:v>
                </c:pt>
                <c:pt idx="12">
                  <c:v>16</c:v>
                </c:pt>
                <c:pt idx="13">
                  <c:v>17</c:v>
                </c:pt>
                <c:pt idx="14">
                  <c:v>18</c:v>
                </c:pt>
                <c:pt idx="15">
                  <c:v>19</c:v>
                </c:pt>
                <c:pt idx="16">
                  <c:v>20</c:v>
                </c:pt>
                <c:pt idx="17">
                  <c:v>21</c:v>
                </c:pt>
                <c:pt idx="18">
                  <c:v>22</c:v>
                </c:pt>
                <c:pt idx="19">
                  <c:v>23</c:v>
                </c:pt>
                <c:pt idx="20">
                  <c:v>24</c:v>
                </c:pt>
                <c:pt idx="21">
                  <c:v>25</c:v>
                </c:pt>
                <c:pt idx="22">
                  <c:v>26</c:v>
                </c:pt>
                <c:pt idx="23">
                  <c:v>27</c:v>
                </c:pt>
                <c:pt idx="24">
                  <c:v>28</c:v>
                </c:pt>
                <c:pt idx="25">
                  <c:v>29</c:v>
                </c:pt>
                <c:pt idx="26">
                  <c:v>30</c:v>
                </c:pt>
                <c:pt idx="27">
                  <c:v>31</c:v>
                </c:pt>
                <c:pt idx="28">
                  <c:v>32</c:v>
                </c:pt>
                <c:pt idx="29">
                  <c:v>33</c:v>
                </c:pt>
                <c:pt idx="30">
                  <c:v>34</c:v>
                </c:pt>
                <c:pt idx="31">
                  <c:v>35</c:v>
                </c:pt>
                <c:pt idx="32">
                  <c:v>36</c:v>
                </c:pt>
                <c:pt idx="33">
                  <c:v>37</c:v>
                </c:pt>
                <c:pt idx="34">
                  <c:v>38</c:v>
                </c:pt>
                <c:pt idx="35">
                  <c:v>39</c:v>
                </c:pt>
                <c:pt idx="36">
                  <c:v>40</c:v>
                </c:pt>
                <c:pt idx="37">
                  <c:v>41</c:v>
                </c:pt>
                <c:pt idx="38">
                  <c:v>42</c:v>
                </c:pt>
                <c:pt idx="39">
                  <c:v>43</c:v>
                </c:pt>
                <c:pt idx="40">
                  <c:v>44</c:v>
                </c:pt>
                <c:pt idx="41">
                  <c:v>45</c:v>
                </c:pt>
                <c:pt idx="42">
                  <c:v>46</c:v>
                </c:pt>
                <c:pt idx="43">
                  <c:v>47</c:v>
                </c:pt>
                <c:pt idx="44">
                  <c:v>48</c:v>
                </c:pt>
                <c:pt idx="45">
                  <c:v>49</c:v>
                </c:pt>
                <c:pt idx="46">
                  <c:v>50</c:v>
                </c:pt>
                <c:pt idx="47">
                  <c:v>51</c:v>
                </c:pt>
                <c:pt idx="48">
                  <c:v>52</c:v>
                </c:pt>
                <c:pt idx="49">
                  <c:v>53</c:v>
                </c:pt>
                <c:pt idx="50">
                  <c:v>54</c:v>
                </c:pt>
                <c:pt idx="51">
                  <c:v>55</c:v>
                </c:pt>
                <c:pt idx="52">
                  <c:v>56</c:v>
                </c:pt>
                <c:pt idx="53">
                  <c:v>57</c:v>
                </c:pt>
                <c:pt idx="54">
                  <c:v>58</c:v>
                </c:pt>
                <c:pt idx="55">
                  <c:v>59</c:v>
                </c:pt>
                <c:pt idx="56">
                  <c:v>60</c:v>
                </c:pt>
                <c:pt idx="57">
                  <c:v>61</c:v>
                </c:pt>
                <c:pt idx="58">
                  <c:v>62</c:v>
                </c:pt>
                <c:pt idx="59">
                  <c:v>63</c:v>
                </c:pt>
                <c:pt idx="60">
                  <c:v>64</c:v>
                </c:pt>
                <c:pt idx="61">
                  <c:v>65</c:v>
                </c:pt>
                <c:pt idx="62">
                  <c:v>66</c:v>
                </c:pt>
                <c:pt idx="63">
                  <c:v>67</c:v>
                </c:pt>
                <c:pt idx="64">
                  <c:v>68</c:v>
                </c:pt>
                <c:pt idx="65">
                  <c:v>69</c:v>
                </c:pt>
                <c:pt idx="66">
                  <c:v>70</c:v>
                </c:pt>
                <c:pt idx="67">
                  <c:v>71</c:v>
                </c:pt>
                <c:pt idx="68">
                  <c:v>72</c:v>
                </c:pt>
                <c:pt idx="69">
                  <c:v>73</c:v>
                </c:pt>
                <c:pt idx="70">
                  <c:v>74</c:v>
                </c:pt>
                <c:pt idx="71">
                  <c:v>75</c:v>
                </c:pt>
                <c:pt idx="72">
                  <c:v>76</c:v>
                </c:pt>
                <c:pt idx="73">
                  <c:v>77</c:v>
                </c:pt>
                <c:pt idx="74">
                  <c:v>78</c:v>
                </c:pt>
                <c:pt idx="75">
                  <c:v>79</c:v>
                </c:pt>
                <c:pt idx="76">
                  <c:v>80</c:v>
                </c:pt>
                <c:pt idx="77">
                  <c:v>81</c:v>
                </c:pt>
                <c:pt idx="78">
                  <c:v>82</c:v>
                </c:pt>
                <c:pt idx="79">
                  <c:v>83</c:v>
                </c:pt>
                <c:pt idx="80">
                  <c:v>84</c:v>
                </c:pt>
                <c:pt idx="81">
                  <c:v>85</c:v>
                </c:pt>
                <c:pt idx="82">
                  <c:v>86</c:v>
                </c:pt>
                <c:pt idx="83">
                  <c:v>87</c:v>
                </c:pt>
                <c:pt idx="84">
                  <c:v>88</c:v>
                </c:pt>
                <c:pt idx="85">
                  <c:v>89</c:v>
                </c:pt>
                <c:pt idx="86">
                  <c:v>90</c:v>
                </c:pt>
                <c:pt idx="87">
                  <c:v>91</c:v>
                </c:pt>
                <c:pt idx="88">
                  <c:v>92</c:v>
                </c:pt>
                <c:pt idx="89">
                  <c:v>93</c:v>
                </c:pt>
                <c:pt idx="90">
                  <c:v>94</c:v>
                </c:pt>
                <c:pt idx="91">
                  <c:v>95</c:v>
                </c:pt>
                <c:pt idx="92">
                  <c:v>96</c:v>
                </c:pt>
                <c:pt idx="93">
                  <c:v>97</c:v>
                </c:pt>
                <c:pt idx="94">
                  <c:v>98</c:v>
                </c:pt>
                <c:pt idx="95">
                  <c:v>99</c:v>
                </c:pt>
                <c:pt idx="96">
                  <c:v>100</c:v>
                </c:pt>
                <c:pt idx="97">
                  <c:v>101</c:v>
                </c:pt>
                <c:pt idx="98">
                  <c:v>102</c:v>
                </c:pt>
                <c:pt idx="99">
                  <c:v>103</c:v>
                </c:pt>
                <c:pt idx="100">
                  <c:v>104</c:v>
                </c:pt>
                <c:pt idx="101">
                  <c:v>107</c:v>
                </c:pt>
                <c:pt idx="102">
                  <c:v>117</c:v>
                </c:pt>
              </c:numCache>
            </c:numRef>
          </c:cat>
          <c:val>
            <c:numRef>
              <c:f>List1!$B$2:$B$104</c:f>
              <c:numCache>
                <c:formatCode>General</c:formatCode>
                <c:ptCount val="103"/>
                <c:pt idx="0">
                  <c:v>1</c:v>
                </c:pt>
                <c:pt idx="1">
                  <c:v>1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10</c:v>
                </c:pt>
                <c:pt idx="6">
                  <c:v>3</c:v>
                </c:pt>
                <c:pt idx="7">
                  <c:v>14</c:v>
                </c:pt>
                <c:pt idx="8">
                  <c:v>12</c:v>
                </c:pt>
                <c:pt idx="9">
                  <c:v>19</c:v>
                </c:pt>
                <c:pt idx="10">
                  <c:v>18</c:v>
                </c:pt>
                <c:pt idx="11">
                  <c:v>12</c:v>
                </c:pt>
                <c:pt idx="12">
                  <c:v>29</c:v>
                </c:pt>
                <c:pt idx="13">
                  <c:v>14</c:v>
                </c:pt>
                <c:pt idx="14">
                  <c:v>22</c:v>
                </c:pt>
                <c:pt idx="15">
                  <c:v>22</c:v>
                </c:pt>
                <c:pt idx="16">
                  <c:v>33</c:v>
                </c:pt>
                <c:pt idx="17">
                  <c:v>25</c:v>
                </c:pt>
                <c:pt idx="18">
                  <c:v>24</c:v>
                </c:pt>
                <c:pt idx="19">
                  <c:v>35</c:v>
                </c:pt>
                <c:pt idx="20">
                  <c:v>45</c:v>
                </c:pt>
                <c:pt idx="21">
                  <c:v>50</c:v>
                </c:pt>
                <c:pt idx="22">
                  <c:v>57</c:v>
                </c:pt>
                <c:pt idx="23">
                  <c:v>54</c:v>
                </c:pt>
                <c:pt idx="24">
                  <c:v>72</c:v>
                </c:pt>
                <c:pt idx="25">
                  <c:v>61</c:v>
                </c:pt>
                <c:pt idx="26">
                  <c:v>70</c:v>
                </c:pt>
                <c:pt idx="27">
                  <c:v>78</c:v>
                </c:pt>
                <c:pt idx="28">
                  <c:v>76</c:v>
                </c:pt>
                <c:pt idx="29">
                  <c:v>81</c:v>
                </c:pt>
                <c:pt idx="30">
                  <c:v>94</c:v>
                </c:pt>
                <c:pt idx="31">
                  <c:v>84</c:v>
                </c:pt>
                <c:pt idx="32">
                  <c:v>78</c:v>
                </c:pt>
                <c:pt idx="33">
                  <c:v>91</c:v>
                </c:pt>
                <c:pt idx="34">
                  <c:v>120</c:v>
                </c:pt>
                <c:pt idx="35">
                  <c:v>101</c:v>
                </c:pt>
                <c:pt idx="36">
                  <c:v>125</c:v>
                </c:pt>
                <c:pt idx="37">
                  <c:v>141</c:v>
                </c:pt>
                <c:pt idx="38">
                  <c:v>125</c:v>
                </c:pt>
                <c:pt idx="39">
                  <c:v>129</c:v>
                </c:pt>
                <c:pt idx="40">
                  <c:v>147</c:v>
                </c:pt>
                <c:pt idx="41">
                  <c:v>145</c:v>
                </c:pt>
                <c:pt idx="42">
                  <c:v>145</c:v>
                </c:pt>
                <c:pt idx="43">
                  <c:v>149</c:v>
                </c:pt>
                <c:pt idx="44">
                  <c:v>128</c:v>
                </c:pt>
                <c:pt idx="45">
                  <c:v>134</c:v>
                </c:pt>
                <c:pt idx="46">
                  <c:v>134</c:v>
                </c:pt>
                <c:pt idx="47">
                  <c:v>162</c:v>
                </c:pt>
                <c:pt idx="48">
                  <c:v>123</c:v>
                </c:pt>
                <c:pt idx="49">
                  <c:v>140</c:v>
                </c:pt>
                <c:pt idx="50">
                  <c:v>161</c:v>
                </c:pt>
                <c:pt idx="51">
                  <c:v>182</c:v>
                </c:pt>
                <c:pt idx="52">
                  <c:v>167</c:v>
                </c:pt>
                <c:pt idx="53">
                  <c:v>163</c:v>
                </c:pt>
                <c:pt idx="54">
                  <c:v>143</c:v>
                </c:pt>
                <c:pt idx="55">
                  <c:v>184</c:v>
                </c:pt>
                <c:pt idx="56">
                  <c:v>205</c:v>
                </c:pt>
                <c:pt idx="57">
                  <c:v>209</c:v>
                </c:pt>
                <c:pt idx="58">
                  <c:v>217</c:v>
                </c:pt>
                <c:pt idx="59">
                  <c:v>257</c:v>
                </c:pt>
                <c:pt idx="60">
                  <c:v>294</c:v>
                </c:pt>
                <c:pt idx="61">
                  <c:v>278</c:v>
                </c:pt>
                <c:pt idx="62">
                  <c:v>306</c:v>
                </c:pt>
                <c:pt idx="63">
                  <c:v>323</c:v>
                </c:pt>
                <c:pt idx="64">
                  <c:v>344</c:v>
                </c:pt>
                <c:pt idx="65">
                  <c:v>422</c:v>
                </c:pt>
                <c:pt idx="66">
                  <c:v>432</c:v>
                </c:pt>
                <c:pt idx="67">
                  <c:v>438</c:v>
                </c:pt>
                <c:pt idx="68">
                  <c:v>535</c:v>
                </c:pt>
                <c:pt idx="69">
                  <c:v>574</c:v>
                </c:pt>
                <c:pt idx="70">
                  <c:v>605</c:v>
                </c:pt>
                <c:pt idx="71">
                  <c:v>556</c:v>
                </c:pt>
                <c:pt idx="72">
                  <c:v>707</c:v>
                </c:pt>
                <c:pt idx="73">
                  <c:v>717</c:v>
                </c:pt>
                <c:pt idx="74">
                  <c:v>758</c:v>
                </c:pt>
                <c:pt idx="75">
                  <c:v>820</c:v>
                </c:pt>
                <c:pt idx="76">
                  <c:v>875</c:v>
                </c:pt>
                <c:pt idx="77">
                  <c:v>870</c:v>
                </c:pt>
                <c:pt idx="78">
                  <c:v>897</c:v>
                </c:pt>
                <c:pt idx="79">
                  <c:v>1003</c:v>
                </c:pt>
                <c:pt idx="80">
                  <c:v>972</c:v>
                </c:pt>
                <c:pt idx="81">
                  <c:v>1120</c:v>
                </c:pt>
                <c:pt idx="82">
                  <c:v>1156</c:v>
                </c:pt>
                <c:pt idx="83">
                  <c:v>1175</c:v>
                </c:pt>
                <c:pt idx="84">
                  <c:v>1260</c:v>
                </c:pt>
                <c:pt idx="85">
                  <c:v>1192</c:v>
                </c:pt>
                <c:pt idx="86">
                  <c:v>1166</c:v>
                </c:pt>
                <c:pt idx="87">
                  <c:v>1009</c:v>
                </c:pt>
                <c:pt idx="88">
                  <c:v>895</c:v>
                </c:pt>
                <c:pt idx="89">
                  <c:v>732</c:v>
                </c:pt>
                <c:pt idx="90">
                  <c:v>519</c:v>
                </c:pt>
                <c:pt idx="91">
                  <c:v>407</c:v>
                </c:pt>
                <c:pt idx="92">
                  <c:v>310</c:v>
                </c:pt>
                <c:pt idx="93">
                  <c:v>231</c:v>
                </c:pt>
                <c:pt idx="94">
                  <c:v>149</c:v>
                </c:pt>
                <c:pt idx="95">
                  <c:v>89</c:v>
                </c:pt>
                <c:pt idx="96">
                  <c:v>44</c:v>
                </c:pt>
                <c:pt idx="97">
                  <c:v>28</c:v>
                </c:pt>
                <c:pt idx="98">
                  <c:v>7</c:v>
                </c:pt>
                <c:pt idx="99">
                  <c:v>5</c:v>
                </c:pt>
                <c:pt idx="100">
                  <c:v>3</c:v>
                </c:pt>
                <c:pt idx="101">
                  <c:v>2</c:v>
                </c:pt>
                <c:pt idx="102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18F-4290-AA04-A5FA3347618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axId val="818323535"/>
        <c:axId val="437097648"/>
      </c:barChart>
      <c:catAx>
        <c:axId val="818323535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cs-CZ" dirty="0">
                    <a:solidFill>
                      <a:schemeClr val="tx1"/>
                    </a:solidFill>
                  </a:rPr>
                  <a:t>Věk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cs-CZ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37097648"/>
        <c:crosses val="autoZero"/>
        <c:auto val="1"/>
        <c:lblAlgn val="ctr"/>
        <c:lblOffset val="100"/>
        <c:noMultiLvlLbl val="0"/>
      </c:catAx>
      <c:valAx>
        <c:axId val="437097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cs-CZ" dirty="0">
                    <a:solidFill>
                      <a:schemeClr val="tx1"/>
                    </a:solidFill>
                  </a:rPr>
                  <a:t>Počet klientů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cs-CZ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81832353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cidence_klinet</c:v>
                </c:pt>
              </c:strCache>
            </c:strRef>
          </c:tx>
          <c:spPr>
            <a:solidFill>
              <a:schemeClr val="accent4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7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trendline>
            <c:spPr>
              <a:ln w="19050" cap="rnd">
                <a:solidFill>
                  <a:schemeClr val="tx1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Sheet1!$A$2:$A$502</c:f>
              <c:numCache>
                <c:formatCode>m/d/yyyy</c:formatCode>
                <c:ptCount val="501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</c:numCache>
            </c:numRef>
          </c:cat>
          <c:val>
            <c:numRef>
              <c:f>Sheet1!$B$2:$B$502</c:f>
              <c:numCache>
                <c:formatCode>#\ ##0_ ;\-#\ ##0\ </c:formatCode>
                <c:ptCount val="501"/>
                <c:pt idx="0">
                  <c:v>6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1</c:v>
                </c:pt>
                <c:pt idx="8">
                  <c:v>1</c:v>
                </c:pt>
                <c:pt idx="9">
                  <c:v>0</c:v>
                </c:pt>
                <c:pt idx="10">
                  <c:v>0</c:v>
                </c:pt>
                <c:pt idx="11">
                  <c:v>3</c:v>
                </c:pt>
                <c:pt idx="12">
                  <c:v>1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2</c:v>
                </c:pt>
                <c:pt idx="18">
                  <c:v>1</c:v>
                </c:pt>
                <c:pt idx="19">
                  <c:v>3</c:v>
                </c:pt>
                <c:pt idx="20">
                  <c:v>1</c:v>
                </c:pt>
                <c:pt idx="21">
                  <c:v>0</c:v>
                </c:pt>
                <c:pt idx="22">
                  <c:v>1</c:v>
                </c:pt>
                <c:pt idx="23">
                  <c:v>3</c:v>
                </c:pt>
                <c:pt idx="24">
                  <c:v>1</c:v>
                </c:pt>
                <c:pt idx="25">
                  <c:v>5</c:v>
                </c:pt>
                <c:pt idx="26">
                  <c:v>5</c:v>
                </c:pt>
                <c:pt idx="27">
                  <c:v>3</c:v>
                </c:pt>
                <c:pt idx="28">
                  <c:v>5</c:v>
                </c:pt>
                <c:pt idx="29">
                  <c:v>28</c:v>
                </c:pt>
                <c:pt idx="30">
                  <c:v>31</c:v>
                </c:pt>
                <c:pt idx="31">
                  <c:v>62</c:v>
                </c:pt>
                <c:pt idx="32">
                  <c:v>36</c:v>
                </c:pt>
                <c:pt idx="33">
                  <c:v>54</c:v>
                </c:pt>
                <c:pt idx="34">
                  <c:v>167</c:v>
                </c:pt>
                <c:pt idx="35">
                  <c:v>82</c:v>
                </c:pt>
                <c:pt idx="36">
                  <c:v>45</c:v>
                </c:pt>
                <c:pt idx="37">
                  <c:v>78</c:v>
                </c:pt>
                <c:pt idx="38">
                  <c:v>139</c:v>
                </c:pt>
                <c:pt idx="39">
                  <c:v>30</c:v>
                </c:pt>
                <c:pt idx="40">
                  <c:v>11</c:v>
                </c:pt>
                <c:pt idx="41">
                  <c:v>138</c:v>
                </c:pt>
                <c:pt idx="42">
                  <c:v>223</c:v>
                </c:pt>
                <c:pt idx="43">
                  <c:v>181</c:v>
                </c:pt>
                <c:pt idx="44">
                  <c:v>195</c:v>
                </c:pt>
                <c:pt idx="45">
                  <c:v>205</c:v>
                </c:pt>
                <c:pt idx="46">
                  <c:v>155</c:v>
                </c:pt>
                <c:pt idx="47">
                  <c:v>41</c:v>
                </c:pt>
                <c:pt idx="48">
                  <c:v>242</c:v>
                </c:pt>
                <c:pt idx="49">
                  <c:v>200</c:v>
                </c:pt>
                <c:pt idx="50">
                  <c:v>326</c:v>
                </c:pt>
                <c:pt idx="51">
                  <c:v>228</c:v>
                </c:pt>
                <c:pt idx="52">
                  <c:v>416</c:v>
                </c:pt>
                <c:pt idx="53">
                  <c:v>227</c:v>
                </c:pt>
                <c:pt idx="54">
                  <c:v>195</c:v>
                </c:pt>
                <c:pt idx="55">
                  <c:v>387</c:v>
                </c:pt>
                <c:pt idx="56">
                  <c:v>523</c:v>
                </c:pt>
                <c:pt idx="57">
                  <c:v>260</c:v>
                </c:pt>
                <c:pt idx="58">
                  <c:v>538</c:v>
                </c:pt>
                <c:pt idx="59">
                  <c:v>587</c:v>
                </c:pt>
                <c:pt idx="60">
                  <c:v>337</c:v>
                </c:pt>
                <c:pt idx="61">
                  <c:v>212</c:v>
                </c:pt>
                <c:pt idx="62">
                  <c:v>332</c:v>
                </c:pt>
                <c:pt idx="63">
                  <c:v>332</c:v>
                </c:pt>
                <c:pt idx="64">
                  <c:v>424</c:v>
                </c:pt>
                <c:pt idx="65">
                  <c:v>534</c:v>
                </c:pt>
                <c:pt idx="66">
                  <c:v>488</c:v>
                </c:pt>
                <c:pt idx="67">
                  <c:v>214</c:v>
                </c:pt>
                <c:pt idx="68">
                  <c:v>78</c:v>
                </c:pt>
                <c:pt idx="69">
                  <c:v>204</c:v>
                </c:pt>
                <c:pt idx="70">
                  <c:v>385</c:v>
                </c:pt>
                <c:pt idx="71">
                  <c:v>677</c:v>
                </c:pt>
                <c:pt idx="72">
                  <c:v>498</c:v>
                </c:pt>
                <c:pt idx="73">
                  <c:v>481</c:v>
                </c:pt>
                <c:pt idx="74">
                  <c:v>180</c:v>
                </c:pt>
                <c:pt idx="75">
                  <c:v>165</c:v>
                </c:pt>
                <c:pt idx="76">
                  <c:v>383</c:v>
                </c:pt>
                <c:pt idx="77">
                  <c:v>138</c:v>
                </c:pt>
                <c:pt idx="78">
                  <c:v>266</c:v>
                </c:pt>
                <c:pt idx="79">
                  <c:v>269</c:v>
                </c:pt>
                <c:pt idx="80">
                  <c:v>240</c:v>
                </c:pt>
                <c:pt idx="81">
                  <c:v>94</c:v>
                </c:pt>
                <c:pt idx="82">
                  <c:v>91</c:v>
                </c:pt>
                <c:pt idx="83">
                  <c:v>378</c:v>
                </c:pt>
                <c:pt idx="84">
                  <c:v>198</c:v>
                </c:pt>
                <c:pt idx="85">
                  <c:v>125</c:v>
                </c:pt>
                <c:pt idx="86">
                  <c:v>194</c:v>
                </c:pt>
                <c:pt idx="87">
                  <c:v>139</c:v>
                </c:pt>
                <c:pt idx="88">
                  <c:v>78</c:v>
                </c:pt>
                <c:pt idx="89">
                  <c:v>28</c:v>
                </c:pt>
                <c:pt idx="90">
                  <c:v>213</c:v>
                </c:pt>
                <c:pt idx="91">
                  <c:v>124</c:v>
                </c:pt>
                <c:pt idx="92">
                  <c:v>132</c:v>
                </c:pt>
                <c:pt idx="93">
                  <c:v>128</c:v>
                </c:pt>
                <c:pt idx="94">
                  <c:v>142</c:v>
                </c:pt>
                <c:pt idx="95">
                  <c:v>88</c:v>
                </c:pt>
                <c:pt idx="96">
                  <c:v>20</c:v>
                </c:pt>
                <c:pt idx="97">
                  <c:v>142</c:v>
                </c:pt>
                <c:pt idx="98">
                  <c:v>89</c:v>
                </c:pt>
                <c:pt idx="99">
                  <c:v>141</c:v>
                </c:pt>
                <c:pt idx="100">
                  <c:v>83</c:v>
                </c:pt>
                <c:pt idx="101">
                  <c:v>230</c:v>
                </c:pt>
                <c:pt idx="102">
                  <c:v>67</c:v>
                </c:pt>
                <c:pt idx="103">
                  <c:v>49</c:v>
                </c:pt>
                <c:pt idx="104">
                  <c:v>148</c:v>
                </c:pt>
                <c:pt idx="105">
                  <c:v>133</c:v>
                </c:pt>
                <c:pt idx="106">
                  <c:v>100</c:v>
                </c:pt>
                <c:pt idx="107">
                  <c:v>68</c:v>
                </c:pt>
                <c:pt idx="108">
                  <c:v>222</c:v>
                </c:pt>
                <c:pt idx="109">
                  <c:v>61</c:v>
                </c:pt>
                <c:pt idx="110">
                  <c:v>21</c:v>
                </c:pt>
                <c:pt idx="111">
                  <c:v>178</c:v>
                </c:pt>
                <c:pt idx="112">
                  <c:v>176</c:v>
                </c:pt>
                <c:pt idx="113">
                  <c:v>122</c:v>
                </c:pt>
                <c:pt idx="114">
                  <c:v>18</c:v>
                </c:pt>
                <c:pt idx="115">
                  <c:v>71</c:v>
                </c:pt>
                <c:pt idx="116">
                  <c:v>78</c:v>
                </c:pt>
                <c:pt idx="117">
                  <c:v>98</c:v>
                </c:pt>
                <c:pt idx="118">
                  <c:v>165</c:v>
                </c:pt>
                <c:pt idx="119">
                  <c:v>185</c:v>
                </c:pt>
                <c:pt idx="120">
                  <c:v>144</c:v>
                </c:pt>
                <c:pt idx="121">
                  <c:v>133</c:v>
                </c:pt>
                <c:pt idx="122">
                  <c:v>65</c:v>
                </c:pt>
                <c:pt idx="123">
                  <c:v>59</c:v>
                </c:pt>
                <c:pt idx="124">
                  <c:v>42</c:v>
                </c:pt>
                <c:pt idx="125">
                  <c:v>269</c:v>
                </c:pt>
                <c:pt idx="126">
                  <c:v>153</c:v>
                </c:pt>
                <c:pt idx="127">
                  <c:v>160</c:v>
                </c:pt>
                <c:pt idx="128">
                  <c:v>232</c:v>
                </c:pt>
                <c:pt idx="129">
                  <c:v>185</c:v>
                </c:pt>
                <c:pt idx="130">
                  <c:v>61</c:v>
                </c:pt>
                <c:pt idx="131">
                  <c:v>31</c:v>
                </c:pt>
                <c:pt idx="132">
                  <c:v>239</c:v>
                </c:pt>
                <c:pt idx="133">
                  <c:v>126</c:v>
                </c:pt>
                <c:pt idx="134">
                  <c:v>175</c:v>
                </c:pt>
                <c:pt idx="135">
                  <c:v>97</c:v>
                </c:pt>
                <c:pt idx="136">
                  <c:v>86</c:v>
                </c:pt>
                <c:pt idx="137">
                  <c:v>35</c:v>
                </c:pt>
                <c:pt idx="138">
                  <c:v>45</c:v>
                </c:pt>
                <c:pt idx="139">
                  <c:v>161</c:v>
                </c:pt>
                <c:pt idx="140">
                  <c:v>79</c:v>
                </c:pt>
                <c:pt idx="141">
                  <c:v>147</c:v>
                </c:pt>
                <c:pt idx="142">
                  <c:v>106</c:v>
                </c:pt>
                <c:pt idx="143">
                  <c:v>114</c:v>
                </c:pt>
                <c:pt idx="144">
                  <c:v>53</c:v>
                </c:pt>
                <c:pt idx="145">
                  <c:v>25</c:v>
                </c:pt>
                <c:pt idx="146">
                  <c:v>84</c:v>
                </c:pt>
                <c:pt idx="147">
                  <c:v>41</c:v>
                </c:pt>
                <c:pt idx="148">
                  <c:v>95</c:v>
                </c:pt>
                <c:pt idx="149">
                  <c:v>67</c:v>
                </c:pt>
                <c:pt idx="150">
                  <c:v>37</c:v>
                </c:pt>
                <c:pt idx="151">
                  <c:v>49</c:v>
                </c:pt>
                <c:pt idx="152">
                  <c:v>9</c:v>
                </c:pt>
                <c:pt idx="153">
                  <c:v>106</c:v>
                </c:pt>
                <c:pt idx="154">
                  <c:v>94</c:v>
                </c:pt>
                <c:pt idx="155">
                  <c:v>102</c:v>
                </c:pt>
                <c:pt idx="156">
                  <c:v>82</c:v>
                </c:pt>
                <c:pt idx="157">
                  <c:v>84</c:v>
                </c:pt>
                <c:pt idx="158">
                  <c:v>43</c:v>
                </c:pt>
                <c:pt idx="159">
                  <c:v>16</c:v>
                </c:pt>
                <c:pt idx="160">
                  <c:v>65</c:v>
                </c:pt>
                <c:pt idx="161">
                  <c:v>66</c:v>
                </c:pt>
                <c:pt idx="162">
                  <c:v>67</c:v>
                </c:pt>
                <c:pt idx="163">
                  <c:v>65</c:v>
                </c:pt>
                <c:pt idx="164">
                  <c:v>52</c:v>
                </c:pt>
                <c:pt idx="165">
                  <c:v>8</c:v>
                </c:pt>
                <c:pt idx="166">
                  <c:v>13</c:v>
                </c:pt>
                <c:pt idx="167">
                  <c:v>37</c:v>
                </c:pt>
                <c:pt idx="168">
                  <c:v>17</c:v>
                </c:pt>
                <c:pt idx="169">
                  <c:v>30</c:v>
                </c:pt>
                <c:pt idx="170">
                  <c:v>27</c:v>
                </c:pt>
                <c:pt idx="171">
                  <c:v>27</c:v>
                </c:pt>
                <c:pt idx="172">
                  <c:v>18</c:v>
                </c:pt>
                <c:pt idx="173">
                  <c:v>5</c:v>
                </c:pt>
                <c:pt idx="174">
                  <c:v>89</c:v>
                </c:pt>
                <c:pt idx="175">
                  <c:v>36</c:v>
                </c:pt>
                <c:pt idx="176">
                  <c:v>34</c:v>
                </c:pt>
                <c:pt idx="177">
                  <c:v>46</c:v>
                </c:pt>
                <c:pt idx="178">
                  <c:v>46</c:v>
                </c:pt>
                <c:pt idx="179">
                  <c:v>9</c:v>
                </c:pt>
                <c:pt idx="180">
                  <c:v>3</c:v>
                </c:pt>
                <c:pt idx="181">
                  <c:v>78</c:v>
                </c:pt>
                <c:pt idx="182">
                  <c:v>28</c:v>
                </c:pt>
                <c:pt idx="183">
                  <c:v>46</c:v>
                </c:pt>
                <c:pt idx="184">
                  <c:v>10</c:v>
                </c:pt>
                <c:pt idx="185">
                  <c:v>23</c:v>
                </c:pt>
                <c:pt idx="186">
                  <c:v>5</c:v>
                </c:pt>
                <c:pt idx="187">
                  <c:v>5</c:v>
                </c:pt>
                <c:pt idx="188">
                  <c:v>27</c:v>
                </c:pt>
                <c:pt idx="189">
                  <c:v>79</c:v>
                </c:pt>
                <c:pt idx="190">
                  <c:v>55</c:v>
                </c:pt>
                <c:pt idx="191">
                  <c:v>12</c:v>
                </c:pt>
                <c:pt idx="192">
                  <c:v>25</c:v>
                </c:pt>
                <c:pt idx="193">
                  <c:v>9</c:v>
                </c:pt>
                <c:pt idx="194">
                  <c:v>6</c:v>
                </c:pt>
                <c:pt idx="195">
                  <c:v>30</c:v>
                </c:pt>
                <c:pt idx="196">
                  <c:v>20</c:v>
                </c:pt>
                <c:pt idx="197">
                  <c:v>7</c:v>
                </c:pt>
                <c:pt idx="198">
                  <c:v>37</c:v>
                </c:pt>
                <c:pt idx="199">
                  <c:v>18</c:v>
                </c:pt>
                <c:pt idx="200">
                  <c:v>9</c:v>
                </c:pt>
                <c:pt idx="201">
                  <c:v>4</c:v>
                </c:pt>
                <c:pt idx="202">
                  <c:v>13</c:v>
                </c:pt>
                <c:pt idx="203">
                  <c:v>30</c:v>
                </c:pt>
                <c:pt idx="204">
                  <c:v>20</c:v>
                </c:pt>
                <c:pt idx="205">
                  <c:v>31</c:v>
                </c:pt>
                <c:pt idx="206">
                  <c:v>6</c:v>
                </c:pt>
                <c:pt idx="207">
                  <c:v>3</c:v>
                </c:pt>
                <c:pt idx="208">
                  <c:v>4</c:v>
                </c:pt>
                <c:pt idx="209">
                  <c:v>21</c:v>
                </c:pt>
                <c:pt idx="210">
                  <c:v>11</c:v>
                </c:pt>
                <c:pt idx="211">
                  <c:v>9</c:v>
                </c:pt>
                <c:pt idx="212">
                  <c:v>9</c:v>
                </c:pt>
                <c:pt idx="213">
                  <c:v>3</c:v>
                </c:pt>
                <c:pt idx="214">
                  <c:v>3</c:v>
                </c:pt>
                <c:pt idx="215">
                  <c:v>2</c:v>
                </c:pt>
                <c:pt idx="216">
                  <c:v>1</c:v>
                </c:pt>
                <c:pt idx="217">
                  <c:v>5</c:v>
                </c:pt>
                <c:pt idx="218">
                  <c:v>18</c:v>
                </c:pt>
                <c:pt idx="219">
                  <c:v>1</c:v>
                </c:pt>
                <c:pt idx="220">
                  <c:v>3</c:v>
                </c:pt>
                <c:pt idx="221">
                  <c:v>1</c:v>
                </c:pt>
                <c:pt idx="222">
                  <c:v>0</c:v>
                </c:pt>
                <c:pt idx="223">
                  <c:v>1</c:v>
                </c:pt>
                <c:pt idx="224">
                  <c:v>2</c:v>
                </c:pt>
                <c:pt idx="225">
                  <c:v>1</c:v>
                </c:pt>
                <c:pt idx="226">
                  <c:v>3</c:v>
                </c:pt>
                <c:pt idx="227">
                  <c:v>1</c:v>
                </c:pt>
                <c:pt idx="228">
                  <c:v>1</c:v>
                </c:pt>
                <c:pt idx="229">
                  <c:v>1</c:v>
                </c:pt>
                <c:pt idx="230">
                  <c:v>5</c:v>
                </c:pt>
                <c:pt idx="231">
                  <c:v>4</c:v>
                </c:pt>
                <c:pt idx="232">
                  <c:v>3</c:v>
                </c:pt>
                <c:pt idx="233">
                  <c:v>9</c:v>
                </c:pt>
                <c:pt idx="234">
                  <c:v>4</c:v>
                </c:pt>
                <c:pt idx="235">
                  <c:v>1</c:v>
                </c:pt>
                <c:pt idx="236">
                  <c:v>0</c:v>
                </c:pt>
                <c:pt idx="237">
                  <c:v>1</c:v>
                </c:pt>
                <c:pt idx="238">
                  <c:v>3</c:v>
                </c:pt>
                <c:pt idx="239">
                  <c:v>1</c:v>
                </c:pt>
                <c:pt idx="240">
                  <c:v>2</c:v>
                </c:pt>
                <c:pt idx="241">
                  <c:v>1</c:v>
                </c:pt>
                <c:pt idx="242">
                  <c:v>0</c:v>
                </c:pt>
                <c:pt idx="243">
                  <c:v>0</c:v>
                </c:pt>
                <c:pt idx="244">
                  <c:v>0</c:v>
                </c:pt>
                <c:pt idx="245">
                  <c:v>0</c:v>
                </c:pt>
                <c:pt idx="246">
                  <c:v>2</c:v>
                </c:pt>
                <c:pt idx="247">
                  <c:v>0</c:v>
                </c:pt>
                <c:pt idx="248">
                  <c:v>1</c:v>
                </c:pt>
                <c:pt idx="249">
                  <c:v>0</c:v>
                </c:pt>
                <c:pt idx="250">
                  <c:v>3</c:v>
                </c:pt>
                <c:pt idx="251">
                  <c:v>5</c:v>
                </c:pt>
                <c:pt idx="252">
                  <c:v>2</c:v>
                </c:pt>
                <c:pt idx="253">
                  <c:v>0</c:v>
                </c:pt>
                <c:pt idx="254">
                  <c:v>2</c:v>
                </c:pt>
                <c:pt idx="255">
                  <c:v>3</c:v>
                </c:pt>
                <c:pt idx="256">
                  <c:v>1</c:v>
                </c:pt>
                <c:pt idx="257">
                  <c:v>0</c:v>
                </c:pt>
                <c:pt idx="258">
                  <c:v>3</c:v>
                </c:pt>
                <c:pt idx="259">
                  <c:v>0</c:v>
                </c:pt>
                <c:pt idx="260">
                  <c:v>2</c:v>
                </c:pt>
                <c:pt idx="261">
                  <c:v>0</c:v>
                </c:pt>
                <c:pt idx="262">
                  <c:v>0</c:v>
                </c:pt>
                <c:pt idx="263">
                  <c:v>0</c:v>
                </c:pt>
                <c:pt idx="264">
                  <c:v>0</c:v>
                </c:pt>
                <c:pt idx="265">
                  <c:v>2</c:v>
                </c:pt>
                <c:pt idx="266">
                  <c:v>0</c:v>
                </c:pt>
                <c:pt idx="267">
                  <c:v>0</c:v>
                </c:pt>
                <c:pt idx="268">
                  <c:v>0</c:v>
                </c:pt>
                <c:pt idx="269">
                  <c:v>0</c:v>
                </c:pt>
                <c:pt idx="270">
                  <c:v>0</c:v>
                </c:pt>
                <c:pt idx="271">
                  <c:v>0</c:v>
                </c:pt>
                <c:pt idx="272">
                  <c:v>0</c:v>
                </c:pt>
                <c:pt idx="273">
                  <c:v>0</c:v>
                </c:pt>
                <c:pt idx="274">
                  <c:v>3</c:v>
                </c:pt>
                <c:pt idx="275">
                  <c:v>1</c:v>
                </c:pt>
                <c:pt idx="276">
                  <c:v>0</c:v>
                </c:pt>
                <c:pt idx="277">
                  <c:v>0</c:v>
                </c:pt>
                <c:pt idx="278">
                  <c:v>0</c:v>
                </c:pt>
                <c:pt idx="279">
                  <c:v>0</c:v>
                </c:pt>
                <c:pt idx="280">
                  <c:v>0</c:v>
                </c:pt>
                <c:pt idx="281">
                  <c:v>0</c:v>
                </c:pt>
                <c:pt idx="282">
                  <c:v>0</c:v>
                </c:pt>
                <c:pt idx="283">
                  <c:v>1</c:v>
                </c:pt>
                <c:pt idx="284">
                  <c:v>0</c:v>
                </c:pt>
                <c:pt idx="285">
                  <c:v>0</c:v>
                </c:pt>
                <c:pt idx="286">
                  <c:v>0</c:v>
                </c:pt>
                <c:pt idx="287">
                  <c:v>0</c:v>
                </c:pt>
                <c:pt idx="288">
                  <c:v>0</c:v>
                </c:pt>
                <c:pt idx="289">
                  <c:v>1</c:v>
                </c:pt>
                <c:pt idx="290">
                  <c:v>0</c:v>
                </c:pt>
                <c:pt idx="291">
                  <c:v>0</c:v>
                </c:pt>
                <c:pt idx="292">
                  <c:v>0</c:v>
                </c:pt>
                <c:pt idx="293">
                  <c:v>0</c:v>
                </c:pt>
                <c:pt idx="294">
                  <c:v>0</c:v>
                </c:pt>
                <c:pt idx="295">
                  <c:v>1</c:v>
                </c:pt>
                <c:pt idx="296">
                  <c:v>1</c:v>
                </c:pt>
                <c:pt idx="297">
                  <c:v>0</c:v>
                </c:pt>
                <c:pt idx="298">
                  <c:v>0</c:v>
                </c:pt>
                <c:pt idx="299">
                  <c:v>0</c:v>
                </c:pt>
                <c:pt idx="300">
                  <c:v>0</c:v>
                </c:pt>
                <c:pt idx="301">
                  <c:v>0</c:v>
                </c:pt>
                <c:pt idx="302">
                  <c:v>0</c:v>
                </c:pt>
                <c:pt idx="303">
                  <c:v>1</c:v>
                </c:pt>
                <c:pt idx="304">
                  <c:v>0</c:v>
                </c:pt>
                <c:pt idx="305">
                  <c:v>0</c:v>
                </c:pt>
                <c:pt idx="306">
                  <c:v>1</c:v>
                </c:pt>
                <c:pt idx="307">
                  <c:v>0</c:v>
                </c:pt>
                <c:pt idx="308">
                  <c:v>0</c:v>
                </c:pt>
                <c:pt idx="309">
                  <c:v>0</c:v>
                </c:pt>
                <c:pt idx="310">
                  <c:v>1</c:v>
                </c:pt>
                <c:pt idx="311">
                  <c:v>0</c:v>
                </c:pt>
                <c:pt idx="312">
                  <c:v>0</c:v>
                </c:pt>
                <c:pt idx="313">
                  <c:v>0</c:v>
                </c:pt>
                <c:pt idx="314">
                  <c:v>0</c:v>
                </c:pt>
                <c:pt idx="315">
                  <c:v>0</c:v>
                </c:pt>
                <c:pt idx="316">
                  <c:v>0</c:v>
                </c:pt>
                <c:pt idx="317">
                  <c:v>0</c:v>
                </c:pt>
                <c:pt idx="318">
                  <c:v>0</c:v>
                </c:pt>
                <c:pt idx="319">
                  <c:v>0</c:v>
                </c:pt>
                <c:pt idx="320">
                  <c:v>0</c:v>
                </c:pt>
                <c:pt idx="321">
                  <c:v>0</c:v>
                </c:pt>
                <c:pt idx="322">
                  <c:v>0</c:v>
                </c:pt>
                <c:pt idx="323">
                  <c:v>0</c:v>
                </c:pt>
                <c:pt idx="324">
                  <c:v>0</c:v>
                </c:pt>
                <c:pt idx="325">
                  <c:v>0</c:v>
                </c:pt>
                <c:pt idx="326">
                  <c:v>1</c:v>
                </c:pt>
                <c:pt idx="327">
                  <c:v>0</c:v>
                </c:pt>
                <c:pt idx="328">
                  <c:v>0</c:v>
                </c:pt>
                <c:pt idx="329">
                  <c:v>0</c:v>
                </c:pt>
                <c:pt idx="330">
                  <c:v>0</c:v>
                </c:pt>
                <c:pt idx="331">
                  <c:v>0</c:v>
                </c:pt>
                <c:pt idx="332">
                  <c:v>0</c:v>
                </c:pt>
                <c:pt idx="333">
                  <c:v>0</c:v>
                </c:pt>
                <c:pt idx="334">
                  <c:v>0</c:v>
                </c:pt>
                <c:pt idx="335">
                  <c:v>0</c:v>
                </c:pt>
                <c:pt idx="336">
                  <c:v>0</c:v>
                </c:pt>
                <c:pt idx="337">
                  <c:v>0</c:v>
                </c:pt>
                <c:pt idx="338">
                  <c:v>0</c:v>
                </c:pt>
                <c:pt idx="339">
                  <c:v>0</c:v>
                </c:pt>
                <c:pt idx="340">
                  <c:v>0</c:v>
                </c:pt>
                <c:pt idx="341">
                  <c:v>0</c:v>
                </c:pt>
                <c:pt idx="342">
                  <c:v>0</c:v>
                </c:pt>
                <c:pt idx="343">
                  <c:v>0</c:v>
                </c:pt>
                <c:pt idx="344">
                  <c:v>0</c:v>
                </c:pt>
                <c:pt idx="345">
                  <c:v>0</c:v>
                </c:pt>
                <c:pt idx="346">
                  <c:v>0</c:v>
                </c:pt>
                <c:pt idx="347">
                  <c:v>0</c:v>
                </c:pt>
                <c:pt idx="348">
                  <c:v>0</c:v>
                </c:pt>
                <c:pt idx="349">
                  <c:v>1</c:v>
                </c:pt>
                <c:pt idx="350">
                  <c:v>1</c:v>
                </c:pt>
                <c:pt idx="351">
                  <c:v>0</c:v>
                </c:pt>
                <c:pt idx="352">
                  <c:v>1</c:v>
                </c:pt>
                <c:pt idx="353">
                  <c:v>0</c:v>
                </c:pt>
                <c:pt idx="354">
                  <c:v>0</c:v>
                </c:pt>
                <c:pt idx="355">
                  <c:v>0</c:v>
                </c:pt>
                <c:pt idx="356">
                  <c:v>2</c:v>
                </c:pt>
                <c:pt idx="357">
                  <c:v>0</c:v>
                </c:pt>
                <c:pt idx="358">
                  <c:v>0</c:v>
                </c:pt>
                <c:pt idx="359">
                  <c:v>0</c:v>
                </c:pt>
                <c:pt idx="360">
                  <c:v>0</c:v>
                </c:pt>
                <c:pt idx="361">
                  <c:v>0</c:v>
                </c:pt>
                <c:pt idx="362">
                  <c:v>0</c:v>
                </c:pt>
                <c:pt idx="363">
                  <c:v>0</c:v>
                </c:pt>
                <c:pt idx="364">
                  <c:v>0</c:v>
                </c:pt>
                <c:pt idx="365">
                  <c:v>1</c:v>
                </c:pt>
                <c:pt idx="366">
                  <c:v>4</c:v>
                </c:pt>
                <c:pt idx="367">
                  <c:v>2</c:v>
                </c:pt>
                <c:pt idx="368">
                  <c:v>1</c:v>
                </c:pt>
                <c:pt idx="369">
                  <c:v>0</c:v>
                </c:pt>
                <c:pt idx="370">
                  <c:v>4</c:v>
                </c:pt>
                <c:pt idx="371">
                  <c:v>0</c:v>
                </c:pt>
                <c:pt idx="372">
                  <c:v>0</c:v>
                </c:pt>
                <c:pt idx="373">
                  <c:v>1</c:v>
                </c:pt>
                <c:pt idx="374">
                  <c:v>0</c:v>
                </c:pt>
                <c:pt idx="375">
                  <c:v>0</c:v>
                </c:pt>
                <c:pt idx="376">
                  <c:v>0</c:v>
                </c:pt>
                <c:pt idx="377">
                  <c:v>1</c:v>
                </c:pt>
                <c:pt idx="378">
                  <c:v>0</c:v>
                </c:pt>
                <c:pt idx="379">
                  <c:v>0</c:v>
                </c:pt>
                <c:pt idx="380">
                  <c:v>0</c:v>
                </c:pt>
                <c:pt idx="381">
                  <c:v>0</c:v>
                </c:pt>
                <c:pt idx="382">
                  <c:v>0</c:v>
                </c:pt>
                <c:pt idx="383">
                  <c:v>0</c:v>
                </c:pt>
                <c:pt idx="384">
                  <c:v>1</c:v>
                </c:pt>
                <c:pt idx="385">
                  <c:v>4</c:v>
                </c:pt>
                <c:pt idx="386">
                  <c:v>1</c:v>
                </c:pt>
                <c:pt idx="387">
                  <c:v>0</c:v>
                </c:pt>
                <c:pt idx="388">
                  <c:v>0</c:v>
                </c:pt>
                <c:pt idx="389">
                  <c:v>0</c:v>
                </c:pt>
                <c:pt idx="390">
                  <c:v>0</c:v>
                </c:pt>
                <c:pt idx="391">
                  <c:v>2</c:v>
                </c:pt>
                <c:pt idx="392">
                  <c:v>0</c:v>
                </c:pt>
                <c:pt idx="393">
                  <c:v>1</c:v>
                </c:pt>
                <c:pt idx="394">
                  <c:v>0</c:v>
                </c:pt>
                <c:pt idx="395">
                  <c:v>1</c:v>
                </c:pt>
                <c:pt idx="396">
                  <c:v>1</c:v>
                </c:pt>
                <c:pt idx="397">
                  <c:v>1</c:v>
                </c:pt>
                <c:pt idx="398">
                  <c:v>2</c:v>
                </c:pt>
                <c:pt idx="399">
                  <c:v>2</c:v>
                </c:pt>
                <c:pt idx="400">
                  <c:v>11</c:v>
                </c:pt>
                <c:pt idx="401">
                  <c:v>2</c:v>
                </c:pt>
                <c:pt idx="402">
                  <c:v>25</c:v>
                </c:pt>
                <c:pt idx="403">
                  <c:v>1</c:v>
                </c:pt>
                <c:pt idx="404">
                  <c:v>0</c:v>
                </c:pt>
                <c:pt idx="405">
                  <c:v>1</c:v>
                </c:pt>
                <c:pt idx="406">
                  <c:v>0</c:v>
                </c:pt>
                <c:pt idx="407">
                  <c:v>20</c:v>
                </c:pt>
                <c:pt idx="408">
                  <c:v>3</c:v>
                </c:pt>
                <c:pt idx="409">
                  <c:v>2</c:v>
                </c:pt>
                <c:pt idx="410">
                  <c:v>0</c:v>
                </c:pt>
                <c:pt idx="411">
                  <c:v>0</c:v>
                </c:pt>
                <c:pt idx="412">
                  <c:v>6</c:v>
                </c:pt>
                <c:pt idx="413">
                  <c:v>5</c:v>
                </c:pt>
                <c:pt idx="414">
                  <c:v>4</c:v>
                </c:pt>
                <c:pt idx="415">
                  <c:v>2</c:v>
                </c:pt>
                <c:pt idx="416">
                  <c:v>5</c:v>
                </c:pt>
                <c:pt idx="417">
                  <c:v>1</c:v>
                </c:pt>
                <c:pt idx="418">
                  <c:v>1</c:v>
                </c:pt>
                <c:pt idx="419">
                  <c:v>14</c:v>
                </c:pt>
                <c:pt idx="420">
                  <c:v>9</c:v>
                </c:pt>
                <c:pt idx="421">
                  <c:v>11</c:v>
                </c:pt>
                <c:pt idx="422">
                  <c:v>0</c:v>
                </c:pt>
                <c:pt idx="423">
                  <c:v>18</c:v>
                </c:pt>
                <c:pt idx="424">
                  <c:v>7</c:v>
                </c:pt>
                <c:pt idx="425">
                  <c:v>11</c:v>
                </c:pt>
                <c:pt idx="426">
                  <c:v>35</c:v>
                </c:pt>
                <c:pt idx="427">
                  <c:v>13</c:v>
                </c:pt>
                <c:pt idx="428">
                  <c:v>16</c:v>
                </c:pt>
                <c:pt idx="429">
                  <c:v>52</c:v>
                </c:pt>
                <c:pt idx="430">
                  <c:v>23</c:v>
                </c:pt>
                <c:pt idx="431">
                  <c:v>6</c:v>
                </c:pt>
                <c:pt idx="432">
                  <c:v>5</c:v>
                </c:pt>
                <c:pt idx="433">
                  <c:v>29</c:v>
                </c:pt>
                <c:pt idx="434">
                  <c:v>29</c:v>
                </c:pt>
                <c:pt idx="435">
                  <c:v>15</c:v>
                </c:pt>
                <c:pt idx="436">
                  <c:v>18</c:v>
                </c:pt>
                <c:pt idx="437">
                  <c:v>17</c:v>
                </c:pt>
                <c:pt idx="438">
                  <c:v>13</c:v>
                </c:pt>
                <c:pt idx="439">
                  <c:v>14</c:v>
                </c:pt>
                <c:pt idx="440">
                  <c:v>43</c:v>
                </c:pt>
                <c:pt idx="441">
                  <c:v>32</c:v>
                </c:pt>
                <c:pt idx="442">
                  <c:v>23</c:v>
                </c:pt>
                <c:pt idx="443">
                  <c:v>55</c:v>
                </c:pt>
                <c:pt idx="444">
                  <c:v>84</c:v>
                </c:pt>
                <c:pt idx="445">
                  <c:v>26</c:v>
                </c:pt>
                <c:pt idx="446">
                  <c:v>9</c:v>
                </c:pt>
                <c:pt idx="447">
                  <c:v>48</c:v>
                </c:pt>
                <c:pt idx="448">
                  <c:v>23</c:v>
                </c:pt>
                <c:pt idx="449">
                  <c:v>41</c:v>
                </c:pt>
                <c:pt idx="450">
                  <c:v>29</c:v>
                </c:pt>
                <c:pt idx="451">
                  <c:v>52</c:v>
                </c:pt>
                <c:pt idx="452">
                  <c:v>5</c:v>
                </c:pt>
                <c:pt idx="453">
                  <c:v>7</c:v>
                </c:pt>
                <c:pt idx="454">
                  <c:v>42</c:v>
                </c:pt>
                <c:pt idx="455">
                  <c:v>14</c:v>
                </c:pt>
                <c:pt idx="456">
                  <c:v>30</c:v>
                </c:pt>
                <c:pt idx="457">
                  <c:v>31</c:v>
                </c:pt>
                <c:pt idx="458">
                  <c:v>13</c:v>
                </c:pt>
                <c:pt idx="459">
                  <c:v>38</c:v>
                </c:pt>
                <c:pt idx="460">
                  <c:v>6</c:v>
                </c:pt>
                <c:pt idx="461">
                  <c:v>29</c:v>
                </c:pt>
                <c:pt idx="462">
                  <c:v>23</c:v>
                </c:pt>
                <c:pt idx="463">
                  <c:v>18</c:v>
                </c:pt>
                <c:pt idx="464">
                  <c:v>31</c:v>
                </c:pt>
                <c:pt idx="465">
                  <c:v>28</c:v>
                </c:pt>
                <c:pt idx="466">
                  <c:v>6</c:v>
                </c:pt>
                <c:pt idx="467">
                  <c:v>0</c:v>
                </c:pt>
                <c:pt idx="468">
                  <c:v>16</c:v>
                </c:pt>
                <c:pt idx="469">
                  <c:v>27</c:v>
                </c:pt>
                <c:pt idx="470">
                  <c:v>15</c:v>
                </c:pt>
                <c:pt idx="471">
                  <c:v>7</c:v>
                </c:pt>
                <c:pt idx="472">
                  <c:v>12</c:v>
                </c:pt>
                <c:pt idx="473">
                  <c:v>2</c:v>
                </c:pt>
                <c:pt idx="474">
                  <c:v>3</c:v>
                </c:pt>
                <c:pt idx="475">
                  <c:v>14</c:v>
                </c:pt>
                <c:pt idx="476">
                  <c:v>8</c:v>
                </c:pt>
                <c:pt idx="477">
                  <c:v>3</c:v>
                </c:pt>
                <c:pt idx="478">
                  <c:v>5</c:v>
                </c:pt>
                <c:pt idx="479">
                  <c:v>0</c:v>
                </c:pt>
                <c:pt idx="480">
                  <c:v>5</c:v>
                </c:pt>
                <c:pt idx="481">
                  <c:v>0</c:v>
                </c:pt>
                <c:pt idx="482">
                  <c:v>10</c:v>
                </c:pt>
                <c:pt idx="483">
                  <c:v>6</c:v>
                </c:pt>
                <c:pt idx="484">
                  <c:v>5</c:v>
                </c:pt>
                <c:pt idx="485">
                  <c:v>2</c:v>
                </c:pt>
                <c:pt idx="486">
                  <c:v>9</c:v>
                </c:pt>
                <c:pt idx="487">
                  <c:v>1</c:v>
                </c:pt>
                <c:pt idx="488" formatCode="General">
                  <c:v>0</c:v>
                </c:pt>
                <c:pt idx="489" formatCode="General">
                  <c:v>3</c:v>
                </c:pt>
                <c:pt idx="490" formatCode="General">
                  <c:v>6</c:v>
                </c:pt>
                <c:pt idx="491" formatCode="General">
                  <c:v>6</c:v>
                </c:pt>
                <c:pt idx="492" formatCode="General">
                  <c:v>6</c:v>
                </c:pt>
                <c:pt idx="493" formatCode="General">
                  <c:v>8</c:v>
                </c:pt>
                <c:pt idx="494" formatCode="General">
                  <c:v>0</c:v>
                </c:pt>
                <c:pt idx="495" formatCode="General">
                  <c:v>1</c:v>
                </c:pt>
                <c:pt idx="496" formatCode="General">
                  <c:v>0</c:v>
                </c:pt>
                <c:pt idx="497" formatCode="General">
                  <c:v>4</c:v>
                </c:pt>
                <c:pt idx="498" formatCode="General">
                  <c:v>9</c:v>
                </c:pt>
                <c:pt idx="499" formatCode="General">
                  <c:v>5</c:v>
                </c:pt>
                <c:pt idx="500" formatCode="General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B3E-4315-A7FA-F141290FE6A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-27"/>
        <c:axId val="529925759"/>
        <c:axId val="533925071"/>
      </c:barChart>
      <c:dateAx>
        <c:axId val="529925759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33925071"/>
        <c:crosses val="autoZero"/>
        <c:auto val="1"/>
        <c:lblOffset val="100"/>
        <c:baseTimeUnit val="days"/>
      </c:dateAx>
      <c:valAx>
        <c:axId val="533925071"/>
        <c:scaling>
          <c:orientation val="minMax"/>
        </c:scaling>
        <c:delete val="0"/>
        <c:axPos val="l"/>
        <c:numFmt formatCode="#\ ##0_ ;\-#\ ##0\ 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2992575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cidence_personal</c:v>
                </c:pt>
              </c:strCache>
            </c:strRef>
          </c:tx>
          <c:spPr>
            <a:solidFill>
              <a:schemeClr val="accent4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7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trendline>
            <c:spPr>
              <a:ln w="19050" cap="rnd">
                <a:solidFill>
                  <a:schemeClr val="tx1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Sheet1!$A$2:$A$502</c:f>
              <c:numCache>
                <c:formatCode>m/d/yyyy</c:formatCode>
                <c:ptCount val="501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</c:numCache>
            </c:numRef>
          </c:cat>
          <c:val>
            <c:numRef>
              <c:f>Sheet1!$B$2:$B$502</c:f>
              <c:numCache>
                <c:formatCode>#\ ##0_ ;\-#\ ##0\ </c:formatCode>
                <c:ptCount val="501"/>
                <c:pt idx="0">
                  <c:v>1</c:v>
                </c:pt>
                <c:pt idx="1">
                  <c:v>0</c:v>
                </c:pt>
                <c:pt idx="2">
                  <c:v>0</c:v>
                </c:pt>
                <c:pt idx="3">
                  <c:v>3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2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0</c:v>
                </c:pt>
                <c:pt idx="13">
                  <c:v>3</c:v>
                </c:pt>
                <c:pt idx="14">
                  <c:v>1</c:v>
                </c:pt>
                <c:pt idx="15">
                  <c:v>2</c:v>
                </c:pt>
                <c:pt idx="16">
                  <c:v>2</c:v>
                </c:pt>
                <c:pt idx="17">
                  <c:v>2</c:v>
                </c:pt>
                <c:pt idx="18">
                  <c:v>1</c:v>
                </c:pt>
                <c:pt idx="19">
                  <c:v>4</c:v>
                </c:pt>
                <c:pt idx="20">
                  <c:v>5</c:v>
                </c:pt>
                <c:pt idx="21">
                  <c:v>4</c:v>
                </c:pt>
                <c:pt idx="22">
                  <c:v>1</c:v>
                </c:pt>
                <c:pt idx="23">
                  <c:v>4</c:v>
                </c:pt>
                <c:pt idx="24">
                  <c:v>12</c:v>
                </c:pt>
                <c:pt idx="25">
                  <c:v>7</c:v>
                </c:pt>
                <c:pt idx="26">
                  <c:v>2</c:v>
                </c:pt>
                <c:pt idx="27">
                  <c:v>4</c:v>
                </c:pt>
                <c:pt idx="28">
                  <c:v>23</c:v>
                </c:pt>
                <c:pt idx="29">
                  <c:v>10</c:v>
                </c:pt>
                <c:pt idx="30">
                  <c:v>30</c:v>
                </c:pt>
                <c:pt idx="31">
                  <c:v>95</c:v>
                </c:pt>
                <c:pt idx="32">
                  <c:v>31</c:v>
                </c:pt>
                <c:pt idx="33">
                  <c:v>30</c:v>
                </c:pt>
                <c:pt idx="34">
                  <c:v>90</c:v>
                </c:pt>
                <c:pt idx="35">
                  <c:v>46</c:v>
                </c:pt>
                <c:pt idx="36">
                  <c:v>42</c:v>
                </c:pt>
                <c:pt idx="37">
                  <c:v>85</c:v>
                </c:pt>
                <c:pt idx="38">
                  <c:v>87</c:v>
                </c:pt>
                <c:pt idx="39">
                  <c:v>51</c:v>
                </c:pt>
                <c:pt idx="40">
                  <c:v>25</c:v>
                </c:pt>
                <c:pt idx="41">
                  <c:v>162</c:v>
                </c:pt>
                <c:pt idx="42">
                  <c:v>155</c:v>
                </c:pt>
                <c:pt idx="43">
                  <c:v>192</c:v>
                </c:pt>
                <c:pt idx="44">
                  <c:v>201</c:v>
                </c:pt>
                <c:pt idx="45">
                  <c:v>211</c:v>
                </c:pt>
                <c:pt idx="46">
                  <c:v>106</c:v>
                </c:pt>
                <c:pt idx="47">
                  <c:v>48</c:v>
                </c:pt>
                <c:pt idx="48">
                  <c:v>194</c:v>
                </c:pt>
                <c:pt idx="49">
                  <c:v>193</c:v>
                </c:pt>
                <c:pt idx="50">
                  <c:v>259</c:v>
                </c:pt>
                <c:pt idx="51">
                  <c:v>235</c:v>
                </c:pt>
                <c:pt idx="52">
                  <c:v>335</c:v>
                </c:pt>
                <c:pt idx="53">
                  <c:v>187</c:v>
                </c:pt>
                <c:pt idx="54">
                  <c:v>90</c:v>
                </c:pt>
                <c:pt idx="55">
                  <c:v>377</c:v>
                </c:pt>
                <c:pt idx="56">
                  <c:v>397</c:v>
                </c:pt>
                <c:pt idx="57">
                  <c:v>134</c:v>
                </c:pt>
                <c:pt idx="58">
                  <c:v>472</c:v>
                </c:pt>
                <c:pt idx="59">
                  <c:v>334</c:v>
                </c:pt>
                <c:pt idx="60">
                  <c:v>184</c:v>
                </c:pt>
                <c:pt idx="61">
                  <c:v>116</c:v>
                </c:pt>
                <c:pt idx="62">
                  <c:v>298</c:v>
                </c:pt>
                <c:pt idx="63">
                  <c:v>232</c:v>
                </c:pt>
                <c:pt idx="64">
                  <c:v>333</c:v>
                </c:pt>
                <c:pt idx="65">
                  <c:v>281</c:v>
                </c:pt>
                <c:pt idx="66">
                  <c:v>241</c:v>
                </c:pt>
                <c:pt idx="67">
                  <c:v>117</c:v>
                </c:pt>
                <c:pt idx="68">
                  <c:v>49</c:v>
                </c:pt>
                <c:pt idx="69">
                  <c:v>198</c:v>
                </c:pt>
                <c:pt idx="70">
                  <c:v>205</c:v>
                </c:pt>
                <c:pt idx="71">
                  <c:v>262</c:v>
                </c:pt>
                <c:pt idx="72">
                  <c:v>232</c:v>
                </c:pt>
                <c:pt idx="73">
                  <c:v>204</c:v>
                </c:pt>
                <c:pt idx="74">
                  <c:v>73</c:v>
                </c:pt>
                <c:pt idx="75">
                  <c:v>30</c:v>
                </c:pt>
                <c:pt idx="76">
                  <c:v>180</c:v>
                </c:pt>
                <c:pt idx="77">
                  <c:v>46</c:v>
                </c:pt>
                <c:pt idx="78">
                  <c:v>163</c:v>
                </c:pt>
                <c:pt idx="79">
                  <c:v>129</c:v>
                </c:pt>
                <c:pt idx="80">
                  <c:v>121</c:v>
                </c:pt>
                <c:pt idx="81">
                  <c:v>36</c:v>
                </c:pt>
                <c:pt idx="82">
                  <c:v>17</c:v>
                </c:pt>
                <c:pt idx="83">
                  <c:v>140</c:v>
                </c:pt>
                <c:pt idx="84">
                  <c:v>107</c:v>
                </c:pt>
                <c:pt idx="85">
                  <c:v>94</c:v>
                </c:pt>
                <c:pt idx="86">
                  <c:v>56</c:v>
                </c:pt>
                <c:pt idx="87">
                  <c:v>80</c:v>
                </c:pt>
                <c:pt idx="88">
                  <c:v>23</c:v>
                </c:pt>
                <c:pt idx="89">
                  <c:v>16</c:v>
                </c:pt>
                <c:pt idx="90">
                  <c:v>105</c:v>
                </c:pt>
                <c:pt idx="91">
                  <c:v>85</c:v>
                </c:pt>
                <c:pt idx="92">
                  <c:v>66</c:v>
                </c:pt>
                <c:pt idx="93">
                  <c:v>59</c:v>
                </c:pt>
                <c:pt idx="94">
                  <c:v>89</c:v>
                </c:pt>
                <c:pt idx="95">
                  <c:v>40</c:v>
                </c:pt>
                <c:pt idx="96">
                  <c:v>25</c:v>
                </c:pt>
                <c:pt idx="97">
                  <c:v>120</c:v>
                </c:pt>
                <c:pt idx="98">
                  <c:v>76</c:v>
                </c:pt>
                <c:pt idx="99">
                  <c:v>63</c:v>
                </c:pt>
                <c:pt idx="100">
                  <c:v>59</c:v>
                </c:pt>
                <c:pt idx="101">
                  <c:v>77</c:v>
                </c:pt>
                <c:pt idx="102">
                  <c:v>21</c:v>
                </c:pt>
                <c:pt idx="103">
                  <c:v>17</c:v>
                </c:pt>
                <c:pt idx="104">
                  <c:v>129</c:v>
                </c:pt>
                <c:pt idx="105">
                  <c:v>71</c:v>
                </c:pt>
                <c:pt idx="106">
                  <c:v>96</c:v>
                </c:pt>
                <c:pt idx="107">
                  <c:v>51</c:v>
                </c:pt>
                <c:pt idx="108">
                  <c:v>83</c:v>
                </c:pt>
                <c:pt idx="109">
                  <c:v>28</c:v>
                </c:pt>
                <c:pt idx="110">
                  <c:v>27</c:v>
                </c:pt>
                <c:pt idx="111">
                  <c:v>159</c:v>
                </c:pt>
                <c:pt idx="112">
                  <c:v>111</c:v>
                </c:pt>
                <c:pt idx="113">
                  <c:v>116</c:v>
                </c:pt>
                <c:pt idx="114">
                  <c:v>28</c:v>
                </c:pt>
                <c:pt idx="115">
                  <c:v>45</c:v>
                </c:pt>
                <c:pt idx="116">
                  <c:v>50</c:v>
                </c:pt>
                <c:pt idx="117">
                  <c:v>47</c:v>
                </c:pt>
                <c:pt idx="118">
                  <c:v>192</c:v>
                </c:pt>
                <c:pt idx="119">
                  <c:v>147</c:v>
                </c:pt>
                <c:pt idx="120">
                  <c:v>112</c:v>
                </c:pt>
                <c:pt idx="121">
                  <c:v>85</c:v>
                </c:pt>
                <c:pt idx="122">
                  <c:v>29</c:v>
                </c:pt>
                <c:pt idx="123">
                  <c:v>60</c:v>
                </c:pt>
                <c:pt idx="124">
                  <c:v>35</c:v>
                </c:pt>
                <c:pt idx="125">
                  <c:v>277</c:v>
                </c:pt>
                <c:pt idx="126">
                  <c:v>146</c:v>
                </c:pt>
                <c:pt idx="127">
                  <c:v>112</c:v>
                </c:pt>
                <c:pt idx="128">
                  <c:v>100</c:v>
                </c:pt>
                <c:pt idx="129">
                  <c:v>122</c:v>
                </c:pt>
                <c:pt idx="130">
                  <c:v>48</c:v>
                </c:pt>
                <c:pt idx="131">
                  <c:v>25</c:v>
                </c:pt>
                <c:pt idx="132">
                  <c:v>231</c:v>
                </c:pt>
                <c:pt idx="133">
                  <c:v>97</c:v>
                </c:pt>
                <c:pt idx="134">
                  <c:v>109</c:v>
                </c:pt>
                <c:pt idx="135">
                  <c:v>53</c:v>
                </c:pt>
                <c:pt idx="136">
                  <c:v>65</c:v>
                </c:pt>
                <c:pt idx="137">
                  <c:v>32</c:v>
                </c:pt>
                <c:pt idx="138">
                  <c:v>26</c:v>
                </c:pt>
                <c:pt idx="139">
                  <c:v>126</c:v>
                </c:pt>
                <c:pt idx="140">
                  <c:v>75</c:v>
                </c:pt>
                <c:pt idx="141">
                  <c:v>71</c:v>
                </c:pt>
                <c:pt idx="142">
                  <c:v>60</c:v>
                </c:pt>
                <c:pt idx="143">
                  <c:v>80</c:v>
                </c:pt>
                <c:pt idx="144">
                  <c:v>27</c:v>
                </c:pt>
                <c:pt idx="145">
                  <c:v>11</c:v>
                </c:pt>
                <c:pt idx="146">
                  <c:v>89</c:v>
                </c:pt>
                <c:pt idx="147">
                  <c:v>76</c:v>
                </c:pt>
                <c:pt idx="148">
                  <c:v>60</c:v>
                </c:pt>
                <c:pt idx="149">
                  <c:v>32</c:v>
                </c:pt>
                <c:pt idx="150">
                  <c:v>46</c:v>
                </c:pt>
                <c:pt idx="151">
                  <c:v>30</c:v>
                </c:pt>
                <c:pt idx="152">
                  <c:v>9</c:v>
                </c:pt>
                <c:pt idx="153">
                  <c:v>80</c:v>
                </c:pt>
                <c:pt idx="154">
                  <c:v>69</c:v>
                </c:pt>
                <c:pt idx="155">
                  <c:v>59</c:v>
                </c:pt>
                <c:pt idx="156">
                  <c:v>43</c:v>
                </c:pt>
                <c:pt idx="157">
                  <c:v>48</c:v>
                </c:pt>
                <c:pt idx="158">
                  <c:v>11</c:v>
                </c:pt>
                <c:pt idx="159">
                  <c:v>17</c:v>
                </c:pt>
                <c:pt idx="160">
                  <c:v>71</c:v>
                </c:pt>
                <c:pt idx="161">
                  <c:v>21</c:v>
                </c:pt>
                <c:pt idx="162">
                  <c:v>34</c:v>
                </c:pt>
                <c:pt idx="163">
                  <c:v>39</c:v>
                </c:pt>
                <c:pt idx="164">
                  <c:v>39</c:v>
                </c:pt>
                <c:pt idx="165">
                  <c:v>15</c:v>
                </c:pt>
                <c:pt idx="166">
                  <c:v>10</c:v>
                </c:pt>
                <c:pt idx="167">
                  <c:v>63</c:v>
                </c:pt>
                <c:pt idx="168">
                  <c:v>33</c:v>
                </c:pt>
                <c:pt idx="169">
                  <c:v>36</c:v>
                </c:pt>
                <c:pt idx="170">
                  <c:v>29</c:v>
                </c:pt>
                <c:pt idx="171">
                  <c:v>35</c:v>
                </c:pt>
                <c:pt idx="172">
                  <c:v>6</c:v>
                </c:pt>
                <c:pt idx="173">
                  <c:v>18</c:v>
                </c:pt>
                <c:pt idx="174">
                  <c:v>75</c:v>
                </c:pt>
                <c:pt idx="175">
                  <c:v>45</c:v>
                </c:pt>
                <c:pt idx="176">
                  <c:v>34</c:v>
                </c:pt>
                <c:pt idx="177">
                  <c:v>33</c:v>
                </c:pt>
                <c:pt idx="178">
                  <c:v>39</c:v>
                </c:pt>
                <c:pt idx="179">
                  <c:v>9</c:v>
                </c:pt>
                <c:pt idx="180">
                  <c:v>9</c:v>
                </c:pt>
                <c:pt idx="181">
                  <c:v>57</c:v>
                </c:pt>
                <c:pt idx="182">
                  <c:v>39</c:v>
                </c:pt>
                <c:pt idx="183">
                  <c:v>56</c:v>
                </c:pt>
                <c:pt idx="184">
                  <c:v>40</c:v>
                </c:pt>
                <c:pt idx="185">
                  <c:v>28</c:v>
                </c:pt>
                <c:pt idx="186">
                  <c:v>14</c:v>
                </c:pt>
                <c:pt idx="187">
                  <c:v>10</c:v>
                </c:pt>
                <c:pt idx="188">
                  <c:v>62</c:v>
                </c:pt>
                <c:pt idx="189">
                  <c:v>37</c:v>
                </c:pt>
                <c:pt idx="190">
                  <c:v>30</c:v>
                </c:pt>
                <c:pt idx="191">
                  <c:v>26</c:v>
                </c:pt>
                <c:pt idx="192">
                  <c:v>18</c:v>
                </c:pt>
                <c:pt idx="193">
                  <c:v>11</c:v>
                </c:pt>
                <c:pt idx="194">
                  <c:v>7</c:v>
                </c:pt>
                <c:pt idx="195">
                  <c:v>36</c:v>
                </c:pt>
                <c:pt idx="196">
                  <c:v>23</c:v>
                </c:pt>
                <c:pt idx="197">
                  <c:v>24</c:v>
                </c:pt>
                <c:pt idx="198">
                  <c:v>16</c:v>
                </c:pt>
                <c:pt idx="199">
                  <c:v>20</c:v>
                </c:pt>
                <c:pt idx="200">
                  <c:v>1</c:v>
                </c:pt>
                <c:pt idx="201">
                  <c:v>4</c:v>
                </c:pt>
                <c:pt idx="202">
                  <c:v>32</c:v>
                </c:pt>
                <c:pt idx="203">
                  <c:v>18</c:v>
                </c:pt>
                <c:pt idx="204">
                  <c:v>10</c:v>
                </c:pt>
                <c:pt idx="205">
                  <c:v>8</c:v>
                </c:pt>
                <c:pt idx="206">
                  <c:v>16</c:v>
                </c:pt>
                <c:pt idx="207">
                  <c:v>3</c:v>
                </c:pt>
                <c:pt idx="208">
                  <c:v>1</c:v>
                </c:pt>
                <c:pt idx="209">
                  <c:v>19</c:v>
                </c:pt>
                <c:pt idx="210">
                  <c:v>14</c:v>
                </c:pt>
                <c:pt idx="211">
                  <c:v>13</c:v>
                </c:pt>
                <c:pt idx="212">
                  <c:v>12</c:v>
                </c:pt>
                <c:pt idx="213">
                  <c:v>3</c:v>
                </c:pt>
                <c:pt idx="214">
                  <c:v>3</c:v>
                </c:pt>
                <c:pt idx="215">
                  <c:v>2</c:v>
                </c:pt>
                <c:pt idx="216">
                  <c:v>5</c:v>
                </c:pt>
                <c:pt idx="217">
                  <c:v>22</c:v>
                </c:pt>
                <c:pt idx="218">
                  <c:v>16</c:v>
                </c:pt>
                <c:pt idx="219">
                  <c:v>16</c:v>
                </c:pt>
                <c:pt idx="220">
                  <c:v>8</c:v>
                </c:pt>
                <c:pt idx="221">
                  <c:v>5</c:v>
                </c:pt>
                <c:pt idx="222">
                  <c:v>1</c:v>
                </c:pt>
                <c:pt idx="223">
                  <c:v>8</c:v>
                </c:pt>
                <c:pt idx="224">
                  <c:v>6</c:v>
                </c:pt>
                <c:pt idx="225">
                  <c:v>4</c:v>
                </c:pt>
                <c:pt idx="226">
                  <c:v>6</c:v>
                </c:pt>
                <c:pt idx="227">
                  <c:v>6</c:v>
                </c:pt>
                <c:pt idx="228">
                  <c:v>1</c:v>
                </c:pt>
                <c:pt idx="229">
                  <c:v>1</c:v>
                </c:pt>
                <c:pt idx="230">
                  <c:v>10</c:v>
                </c:pt>
                <c:pt idx="231">
                  <c:v>3</c:v>
                </c:pt>
                <c:pt idx="232">
                  <c:v>4</c:v>
                </c:pt>
                <c:pt idx="233">
                  <c:v>4</c:v>
                </c:pt>
                <c:pt idx="234">
                  <c:v>3</c:v>
                </c:pt>
                <c:pt idx="235">
                  <c:v>1</c:v>
                </c:pt>
                <c:pt idx="236">
                  <c:v>0</c:v>
                </c:pt>
                <c:pt idx="237">
                  <c:v>8</c:v>
                </c:pt>
                <c:pt idx="238">
                  <c:v>7</c:v>
                </c:pt>
                <c:pt idx="239">
                  <c:v>2</c:v>
                </c:pt>
                <c:pt idx="240">
                  <c:v>2</c:v>
                </c:pt>
                <c:pt idx="241">
                  <c:v>5</c:v>
                </c:pt>
                <c:pt idx="242">
                  <c:v>0</c:v>
                </c:pt>
                <c:pt idx="243">
                  <c:v>1</c:v>
                </c:pt>
                <c:pt idx="244">
                  <c:v>2</c:v>
                </c:pt>
                <c:pt idx="245">
                  <c:v>2</c:v>
                </c:pt>
                <c:pt idx="246">
                  <c:v>1</c:v>
                </c:pt>
                <c:pt idx="247">
                  <c:v>5</c:v>
                </c:pt>
                <c:pt idx="248">
                  <c:v>2</c:v>
                </c:pt>
                <c:pt idx="249">
                  <c:v>1</c:v>
                </c:pt>
                <c:pt idx="250">
                  <c:v>0</c:v>
                </c:pt>
                <c:pt idx="251">
                  <c:v>1</c:v>
                </c:pt>
                <c:pt idx="252">
                  <c:v>4</c:v>
                </c:pt>
                <c:pt idx="253">
                  <c:v>0</c:v>
                </c:pt>
                <c:pt idx="254">
                  <c:v>2</c:v>
                </c:pt>
                <c:pt idx="255">
                  <c:v>1</c:v>
                </c:pt>
                <c:pt idx="256">
                  <c:v>0</c:v>
                </c:pt>
                <c:pt idx="257">
                  <c:v>0</c:v>
                </c:pt>
                <c:pt idx="258">
                  <c:v>5</c:v>
                </c:pt>
                <c:pt idx="259">
                  <c:v>4</c:v>
                </c:pt>
                <c:pt idx="260">
                  <c:v>2</c:v>
                </c:pt>
                <c:pt idx="261">
                  <c:v>3</c:v>
                </c:pt>
                <c:pt idx="262">
                  <c:v>1</c:v>
                </c:pt>
                <c:pt idx="263">
                  <c:v>0</c:v>
                </c:pt>
                <c:pt idx="264">
                  <c:v>0</c:v>
                </c:pt>
                <c:pt idx="265">
                  <c:v>2</c:v>
                </c:pt>
                <c:pt idx="266">
                  <c:v>1</c:v>
                </c:pt>
                <c:pt idx="267">
                  <c:v>1</c:v>
                </c:pt>
                <c:pt idx="268">
                  <c:v>1</c:v>
                </c:pt>
                <c:pt idx="269">
                  <c:v>0</c:v>
                </c:pt>
                <c:pt idx="270">
                  <c:v>0</c:v>
                </c:pt>
                <c:pt idx="271">
                  <c:v>0</c:v>
                </c:pt>
                <c:pt idx="272">
                  <c:v>0</c:v>
                </c:pt>
                <c:pt idx="273">
                  <c:v>0</c:v>
                </c:pt>
                <c:pt idx="274">
                  <c:v>0</c:v>
                </c:pt>
                <c:pt idx="275">
                  <c:v>1</c:v>
                </c:pt>
                <c:pt idx="276">
                  <c:v>0</c:v>
                </c:pt>
                <c:pt idx="277">
                  <c:v>0</c:v>
                </c:pt>
                <c:pt idx="278">
                  <c:v>0</c:v>
                </c:pt>
                <c:pt idx="279">
                  <c:v>0</c:v>
                </c:pt>
                <c:pt idx="280">
                  <c:v>0</c:v>
                </c:pt>
                <c:pt idx="281">
                  <c:v>0</c:v>
                </c:pt>
                <c:pt idx="282">
                  <c:v>0</c:v>
                </c:pt>
                <c:pt idx="283">
                  <c:v>0</c:v>
                </c:pt>
                <c:pt idx="284">
                  <c:v>0</c:v>
                </c:pt>
                <c:pt idx="285">
                  <c:v>0</c:v>
                </c:pt>
                <c:pt idx="286">
                  <c:v>0</c:v>
                </c:pt>
                <c:pt idx="287">
                  <c:v>0</c:v>
                </c:pt>
                <c:pt idx="288">
                  <c:v>0</c:v>
                </c:pt>
                <c:pt idx="289">
                  <c:v>0</c:v>
                </c:pt>
                <c:pt idx="290">
                  <c:v>0</c:v>
                </c:pt>
                <c:pt idx="291">
                  <c:v>0</c:v>
                </c:pt>
                <c:pt idx="292">
                  <c:v>0</c:v>
                </c:pt>
                <c:pt idx="293">
                  <c:v>0</c:v>
                </c:pt>
                <c:pt idx="294">
                  <c:v>0</c:v>
                </c:pt>
                <c:pt idx="295">
                  <c:v>0</c:v>
                </c:pt>
                <c:pt idx="296">
                  <c:v>0</c:v>
                </c:pt>
                <c:pt idx="297">
                  <c:v>0</c:v>
                </c:pt>
                <c:pt idx="298">
                  <c:v>0</c:v>
                </c:pt>
                <c:pt idx="299">
                  <c:v>0</c:v>
                </c:pt>
                <c:pt idx="300">
                  <c:v>0</c:v>
                </c:pt>
                <c:pt idx="301">
                  <c:v>0</c:v>
                </c:pt>
                <c:pt idx="302">
                  <c:v>1</c:v>
                </c:pt>
                <c:pt idx="303">
                  <c:v>0</c:v>
                </c:pt>
                <c:pt idx="304">
                  <c:v>0</c:v>
                </c:pt>
                <c:pt idx="305">
                  <c:v>0</c:v>
                </c:pt>
                <c:pt idx="306">
                  <c:v>0</c:v>
                </c:pt>
                <c:pt idx="307">
                  <c:v>0</c:v>
                </c:pt>
                <c:pt idx="308">
                  <c:v>0</c:v>
                </c:pt>
                <c:pt idx="309">
                  <c:v>0</c:v>
                </c:pt>
                <c:pt idx="310">
                  <c:v>0</c:v>
                </c:pt>
                <c:pt idx="311">
                  <c:v>0</c:v>
                </c:pt>
                <c:pt idx="312">
                  <c:v>0</c:v>
                </c:pt>
                <c:pt idx="313">
                  <c:v>1</c:v>
                </c:pt>
                <c:pt idx="314">
                  <c:v>0</c:v>
                </c:pt>
                <c:pt idx="315">
                  <c:v>0</c:v>
                </c:pt>
                <c:pt idx="316">
                  <c:v>0</c:v>
                </c:pt>
                <c:pt idx="317">
                  <c:v>0</c:v>
                </c:pt>
                <c:pt idx="318">
                  <c:v>0</c:v>
                </c:pt>
                <c:pt idx="319">
                  <c:v>0</c:v>
                </c:pt>
                <c:pt idx="320">
                  <c:v>0</c:v>
                </c:pt>
                <c:pt idx="321">
                  <c:v>0</c:v>
                </c:pt>
                <c:pt idx="322">
                  <c:v>0</c:v>
                </c:pt>
                <c:pt idx="323">
                  <c:v>1</c:v>
                </c:pt>
                <c:pt idx="324">
                  <c:v>0</c:v>
                </c:pt>
                <c:pt idx="325">
                  <c:v>0</c:v>
                </c:pt>
                <c:pt idx="326">
                  <c:v>0</c:v>
                </c:pt>
                <c:pt idx="327">
                  <c:v>0</c:v>
                </c:pt>
                <c:pt idx="328">
                  <c:v>0</c:v>
                </c:pt>
                <c:pt idx="329">
                  <c:v>1</c:v>
                </c:pt>
                <c:pt idx="330">
                  <c:v>2</c:v>
                </c:pt>
                <c:pt idx="331">
                  <c:v>0</c:v>
                </c:pt>
                <c:pt idx="332">
                  <c:v>0</c:v>
                </c:pt>
                <c:pt idx="333">
                  <c:v>0</c:v>
                </c:pt>
                <c:pt idx="334">
                  <c:v>0</c:v>
                </c:pt>
                <c:pt idx="335">
                  <c:v>0</c:v>
                </c:pt>
                <c:pt idx="336">
                  <c:v>0</c:v>
                </c:pt>
                <c:pt idx="337">
                  <c:v>0</c:v>
                </c:pt>
                <c:pt idx="338">
                  <c:v>0</c:v>
                </c:pt>
                <c:pt idx="339">
                  <c:v>0</c:v>
                </c:pt>
                <c:pt idx="340">
                  <c:v>0</c:v>
                </c:pt>
                <c:pt idx="341">
                  <c:v>1</c:v>
                </c:pt>
                <c:pt idx="342">
                  <c:v>0</c:v>
                </c:pt>
                <c:pt idx="343">
                  <c:v>0</c:v>
                </c:pt>
                <c:pt idx="344">
                  <c:v>1</c:v>
                </c:pt>
                <c:pt idx="345">
                  <c:v>0</c:v>
                </c:pt>
                <c:pt idx="346">
                  <c:v>0</c:v>
                </c:pt>
                <c:pt idx="347">
                  <c:v>0</c:v>
                </c:pt>
                <c:pt idx="348">
                  <c:v>0</c:v>
                </c:pt>
                <c:pt idx="349">
                  <c:v>0</c:v>
                </c:pt>
                <c:pt idx="350">
                  <c:v>0</c:v>
                </c:pt>
                <c:pt idx="351">
                  <c:v>0</c:v>
                </c:pt>
                <c:pt idx="352">
                  <c:v>0</c:v>
                </c:pt>
                <c:pt idx="353">
                  <c:v>0</c:v>
                </c:pt>
                <c:pt idx="354">
                  <c:v>0</c:v>
                </c:pt>
                <c:pt idx="355">
                  <c:v>0</c:v>
                </c:pt>
                <c:pt idx="356">
                  <c:v>1</c:v>
                </c:pt>
                <c:pt idx="357">
                  <c:v>0</c:v>
                </c:pt>
                <c:pt idx="358">
                  <c:v>0</c:v>
                </c:pt>
                <c:pt idx="359">
                  <c:v>1</c:v>
                </c:pt>
                <c:pt idx="360">
                  <c:v>1</c:v>
                </c:pt>
                <c:pt idx="361">
                  <c:v>1</c:v>
                </c:pt>
                <c:pt idx="362">
                  <c:v>0</c:v>
                </c:pt>
                <c:pt idx="363">
                  <c:v>0</c:v>
                </c:pt>
                <c:pt idx="364">
                  <c:v>0</c:v>
                </c:pt>
                <c:pt idx="365">
                  <c:v>3</c:v>
                </c:pt>
                <c:pt idx="366">
                  <c:v>1</c:v>
                </c:pt>
                <c:pt idx="367">
                  <c:v>1</c:v>
                </c:pt>
                <c:pt idx="368">
                  <c:v>0</c:v>
                </c:pt>
                <c:pt idx="369">
                  <c:v>0</c:v>
                </c:pt>
                <c:pt idx="370">
                  <c:v>1</c:v>
                </c:pt>
                <c:pt idx="371">
                  <c:v>2</c:v>
                </c:pt>
                <c:pt idx="372">
                  <c:v>1</c:v>
                </c:pt>
                <c:pt idx="373">
                  <c:v>1</c:v>
                </c:pt>
                <c:pt idx="374">
                  <c:v>0</c:v>
                </c:pt>
                <c:pt idx="375">
                  <c:v>0</c:v>
                </c:pt>
                <c:pt idx="376">
                  <c:v>1</c:v>
                </c:pt>
                <c:pt idx="377">
                  <c:v>0</c:v>
                </c:pt>
                <c:pt idx="378">
                  <c:v>1</c:v>
                </c:pt>
                <c:pt idx="379">
                  <c:v>0</c:v>
                </c:pt>
                <c:pt idx="380">
                  <c:v>0</c:v>
                </c:pt>
                <c:pt idx="381">
                  <c:v>0</c:v>
                </c:pt>
                <c:pt idx="382">
                  <c:v>1</c:v>
                </c:pt>
                <c:pt idx="383">
                  <c:v>0</c:v>
                </c:pt>
                <c:pt idx="384">
                  <c:v>4</c:v>
                </c:pt>
                <c:pt idx="385">
                  <c:v>4</c:v>
                </c:pt>
                <c:pt idx="386">
                  <c:v>2</c:v>
                </c:pt>
                <c:pt idx="387">
                  <c:v>0</c:v>
                </c:pt>
                <c:pt idx="388">
                  <c:v>0</c:v>
                </c:pt>
                <c:pt idx="389">
                  <c:v>1</c:v>
                </c:pt>
                <c:pt idx="390">
                  <c:v>1</c:v>
                </c:pt>
                <c:pt idx="391">
                  <c:v>5</c:v>
                </c:pt>
                <c:pt idx="392">
                  <c:v>2</c:v>
                </c:pt>
                <c:pt idx="393">
                  <c:v>7</c:v>
                </c:pt>
                <c:pt idx="394">
                  <c:v>3</c:v>
                </c:pt>
                <c:pt idx="395">
                  <c:v>2</c:v>
                </c:pt>
                <c:pt idx="396">
                  <c:v>0</c:v>
                </c:pt>
                <c:pt idx="397">
                  <c:v>0</c:v>
                </c:pt>
                <c:pt idx="398">
                  <c:v>3</c:v>
                </c:pt>
                <c:pt idx="399">
                  <c:v>5</c:v>
                </c:pt>
                <c:pt idx="400">
                  <c:v>2</c:v>
                </c:pt>
                <c:pt idx="401">
                  <c:v>1</c:v>
                </c:pt>
                <c:pt idx="402">
                  <c:v>2</c:v>
                </c:pt>
                <c:pt idx="403">
                  <c:v>1</c:v>
                </c:pt>
                <c:pt idx="404">
                  <c:v>0</c:v>
                </c:pt>
                <c:pt idx="405">
                  <c:v>2</c:v>
                </c:pt>
                <c:pt idx="406">
                  <c:v>3</c:v>
                </c:pt>
                <c:pt idx="407">
                  <c:v>1</c:v>
                </c:pt>
                <c:pt idx="408">
                  <c:v>3</c:v>
                </c:pt>
                <c:pt idx="409">
                  <c:v>6</c:v>
                </c:pt>
                <c:pt idx="410">
                  <c:v>2</c:v>
                </c:pt>
                <c:pt idx="411">
                  <c:v>1</c:v>
                </c:pt>
                <c:pt idx="412">
                  <c:v>12</c:v>
                </c:pt>
                <c:pt idx="413">
                  <c:v>8</c:v>
                </c:pt>
                <c:pt idx="414">
                  <c:v>9</c:v>
                </c:pt>
                <c:pt idx="415">
                  <c:v>7</c:v>
                </c:pt>
                <c:pt idx="416">
                  <c:v>10</c:v>
                </c:pt>
                <c:pt idx="417">
                  <c:v>0</c:v>
                </c:pt>
                <c:pt idx="418">
                  <c:v>3</c:v>
                </c:pt>
                <c:pt idx="419">
                  <c:v>19</c:v>
                </c:pt>
                <c:pt idx="420">
                  <c:v>5</c:v>
                </c:pt>
                <c:pt idx="421">
                  <c:v>17</c:v>
                </c:pt>
                <c:pt idx="422">
                  <c:v>3</c:v>
                </c:pt>
                <c:pt idx="423">
                  <c:v>8</c:v>
                </c:pt>
                <c:pt idx="424">
                  <c:v>5</c:v>
                </c:pt>
                <c:pt idx="425">
                  <c:v>4</c:v>
                </c:pt>
                <c:pt idx="426">
                  <c:v>41</c:v>
                </c:pt>
                <c:pt idx="427">
                  <c:v>25</c:v>
                </c:pt>
                <c:pt idx="428">
                  <c:v>19</c:v>
                </c:pt>
                <c:pt idx="429">
                  <c:v>24</c:v>
                </c:pt>
                <c:pt idx="430">
                  <c:v>27</c:v>
                </c:pt>
                <c:pt idx="431">
                  <c:v>13</c:v>
                </c:pt>
                <c:pt idx="432">
                  <c:v>5</c:v>
                </c:pt>
                <c:pt idx="433">
                  <c:v>51</c:v>
                </c:pt>
                <c:pt idx="434">
                  <c:v>25</c:v>
                </c:pt>
                <c:pt idx="435">
                  <c:v>29</c:v>
                </c:pt>
                <c:pt idx="436">
                  <c:v>36</c:v>
                </c:pt>
                <c:pt idx="437">
                  <c:v>34</c:v>
                </c:pt>
                <c:pt idx="438">
                  <c:v>20</c:v>
                </c:pt>
                <c:pt idx="439">
                  <c:v>14</c:v>
                </c:pt>
                <c:pt idx="440">
                  <c:v>55</c:v>
                </c:pt>
                <c:pt idx="441">
                  <c:v>33</c:v>
                </c:pt>
                <c:pt idx="442">
                  <c:v>13</c:v>
                </c:pt>
                <c:pt idx="443">
                  <c:v>42</c:v>
                </c:pt>
                <c:pt idx="444">
                  <c:v>52</c:v>
                </c:pt>
                <c:pt idx="445">
                  <c:v>11</c:v>
                </c:pt>
                <c:pt idx="446">
                  <c:v>7</c:v>
                </c:pt>
                <c:pt idx="447">
                  <c:v>68</c:v>
                </c:pt>
                <c:pt idx="448">
                  <c:v>44</c:v>
                </c:pt>
                <c:pt idx="449">
                  <c:v>45</c:v>
                </c:pt>
                <c:pt idx="450">
                  <c:v>48</c:v>
                </c:pt>
                <c:pt idx="451">
                  <c:v>48</c:v>
                </c:pt>
                <c:pt idx="452">
                  <c:v>22</c:v>
                </c:pt>
                <c:pt idx="453">
                  <c:v>8</c:v>
                </c:pt>
                <c:pt idx="454">
                  <c:v>43</c:v>
                </c:pt>
                <c:pt idx="455">
                  <c:v>48</c:v>
                </c:pt>
                <c:pt idx="456">
                  <c:v>40</c:v>
                </c:pt>
                <c:pt idx="457">
                  <c:v>32</c:v>
                </c:pt>
                <c:pt idx="458">
                  <c:v>28</c:v>
                </c:pt>
                <c:pt idx="459">
                  <c:v>21</c:v>
                </c:pt>
                <c:pt idx="460">
                  <c:v>9</c:v>
                </c:pt>
                <c:pt idx="461">
                  <c:v>48</c:v>
                </c:pt>
                <c:pt idx="462">
                  <c:v>35</c:v>
                </c:pt>
                <c:pt idx="463">
                  <c:v>34</c:v>
                </c:pt>
                <c:pt idx="464">
                  <c:v>25</c:v>
                </c:pt>
                <c:pt idx="465">
                  <c:v>18</c:v>
                </c:pt>
                <c:pt idx="466">
                  <c:v>13</c:v>
                </c:pt>
                <c:pt idx="467">
                  <c:v>7</c:v>
                </c:pt>
                <c:pt idx="468">
                  <c:v>30</c:v>
                </c:pt>
                <c:pt idx="469">
                  <c:v>36</c:v>
                </c:pt>
                <c:pt idx="470">
                  <c:v>28</c:v>
                </c:pt>
                <c:pt idx="471">
                  <c:v>17</c:v>
                </c:pt>
                <c:pt idx="472">
                  <c:v>14</c:v>
                </c:pt>
                <c:pt idx="473">
                  <c:v>8</c:v>
                </c:pt>
                <c:pt idx="474">
                  <c:v>10</c:v>
                </c:pt>
                <c:pt idx="475">
                  <c:v>25</c:v>
                </c:pt>
                <c:pt idx="476">
                  <c:v>12</c:v>
                </c:pt>
                <c:pt idx="477">
                  <c:v>8</c:v>
                </c:pt>
                <c:pt idx="478">
                  <c:v>4</c:v>
                </c:pt>
                <c:pt idx="479">
                  <c:v>7</c:v>
                </c:pt>
                <c:pt idx="480">
                  <c:v>3</c:v>
                </c:pt>
                <c:pt idx="481">
                  <c:v>4</c:v>
                </c:pt>
                <c:pt idx="482">
                  <c:v>7</c:v>
                </c:pt>
                <c:pt idx="483">
                  <c:v>17</c:v>
                </c:pt>
                <c:pt idx="484">
                  <c:v>8</c:v>
                </c:pt>
                <c:pt idx="485">
                  <c:v>14</c:v>
                </c:pt>
                <c:pt idx="486">
                  <c:v>6</c:v>
                </c:pt>
                <c:pt idx="487">
                  <c:v>0</c:v>
                </c:pt>
                <c:pt idx="488" formatCode="General">
                  <c:v>1</c:v>
                </c:pt>
                <c:pt idx="489" formatCode="General">
                  <c:v>14</c:v>
                </c:pt>
                <c:pt idx="490" formatCode="General">
                  <c:v>18</c:v>
                </c:pt>
                <c:pt idx="491" formatCode="General">
                  <c:v>9</c:v>
                </c:pt>
                <c:pt idx="492" formatCode="General">
                  <c:v>9</c:v>
                </c:pt>
                <c:pt idx="493" formatCode="General">
                  <c:v>6</c:v>
                </c:pt>
                <c:pt idx="494" formatCode="General">
                  <c:v>5</c:v>
                </c:pt>
                <c:pt idx="495" formatCode="General">
                  <c:v>2</c:v>
                </c:pt>
                <c:pt idx="496" formatCode="General">
                  <c:v>12</c:v>
                </c:pt>
                <c:pt idx="497" formatCode="General">
                  <c:v>16</c:v>
                </c:pt>
                <c:pt idx="498" formatCode="General">
                  <c:v>12</c:v>
                </c:pt>
                <c:pt idx="499" formatCode="General">
                  <c:v>15</c:v>
                </c:pt>
                <c:pt idx="500" formatCode="General">
                  <c:v>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B3E-4315-A7FA-F141290FE6A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-27"/>
        <c:axId val="529925759"/>
        <c:axId val="533925071"/>
      </c:barChart>
      <c:dateAx>
        <c:axId val="529925759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33925071"/>
        <c:crosses val="autoZero"/>
        <c:auto val="1"/>
        <c:lblOffset val="100"/>
        <c:baseTimeUnit val="days"/>
      </c:dateAx>
      <c:valAx>
        <c:axId val="533925071"/>
        <c:scaling>
          <c:orientation val="minMax"/>
        </c:scaling>
        <c:delete val="0"/>
        <c:axPos val="l"/>
        <c:numFmt formatCode="#\ ##0_ ;\-#\ ##0\ 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2992575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cidence_celkem</c:v>
                </c:pt>
              </c:strCache>
            </c:strRef>
          </c:tx>
          <c:spPr>
            <a:solidFill>
              <a:schemeClr val="accent4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7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trendline>
            <c:spPr>
              <a:ln w="19050" cap="rnd">
                <a:solidFill>
                  <a:schemeClr val="tx1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Sheet1!$A$2:$A$502</c:f>
              <c:numCache>
                <c:formatCode>m/d/yyyy</c:formatCode>
                <c:ptCount val="501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</c:numCache>
            </c:numRef>
          </c:cat>
          <c:val>
            <c:numRef>
              <c:f>Sheet1!$B$2:$B$502</c:f>
              <c:numCache>
                <c:formatCode>#\ ##0_ ;\-#\ ##0\ </c:formatCode>
                <c:ptCount val="501"/>
                <c:pt idx="0">
                  <c:v>7</c:v>
                </c:pt>
                <c:pt idx="1">
                  <c:v>0</c:v>
                </c:pt>
                <c:pt idx="2">
                  <c:v>0</c:v>
                </c:pt>
                <c:pt idx="3">
                  <c:v>3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1</c:v>
                </c:pt>
                <c:pt idx="8">
                  <c:v>3</c:v>
                </c:pt>
                <c:pt idx="9">
                  <c:v>1</c:v>
                </c:pt>
                <c:pt idx="10">
                  <c:v>1</c:v>
                </c:pt>
                <c:pt idx="11">
                  <c:v>4</c:v>
                </c:pt>
                <c:pt idx="12">
                  <c:v>1</c:v>
                </c:pt>
                <c:pt idx="13">
                  <c:v>3</c:v>
                </c:pt>
                <c:pt idx="14">
                  <c:v>1</c:v>
                </c:pt>
                <c:pt idx="15">
                  <c:v>2</c:v>
                </c:pt>
                <c:pt idx="16">
                  <c:v>2</c:v>
                </c:pt>
                <c:pt idx="17">
                  <c:v>4</c:v>
                </c:pt>
                <c:pt idx="18">
                  <c:v>2</c:v>
                </c:pt>
                <c:pt idx="19">
                  <c:v>7</c:v>
                </c:pt>
                <c:pt idx="20">
                  <c:v>6</c:v>
                </c:pt>
                <c:pt idx="21">
                  <c:v>4</c:v>
                </c:pt>
                <c:pt idx="22">
                  <c:v>2</c:v>
                </c:pt>
                <c:pt idx="23">
                  <c:v>7</c:v>
                </c:pt>
                <c:pt idx="24">
                  <c:v>13</c:v>
                </c:pt>
                <c:pt idx="25">
                  <c:v>12</c:v>
                </c:pt>
                <c:pt idx="26">
                  <c:v>7</c:v>
                </c:pt>
                <c:pt idx="27">
                  <c:v>7</c:v>
                </c:pt>
                <c:pt idx="28">
                  <c:v>28</c:v>
                </c:pt>
                <c:pt idx="29">
                  <c:v>38</c:v>
                </c:pt>
                <c:pt idx="30">
                  <c:v>61</c:v>
                </c:pt>
                <c:pt idx="31">
                  <c:v>157</c:v>
                </c:pt>
                <c:pt idx="32">
                  <c:v>67</c:v>
                </c:pt>
                <c:pt idx="33">
                  <c:v>84</c:v>
                </c:pt>
                <c:pt idx="34">
                  <c:v>257</c:v>
                </c:pt>
                <c:pt idx="35">
                  <c:v>128</c:v>
                </c:pt>
                <c:pt idx="36">
                  <c:v>87</c:v>
                </c:pt>
                <c:pt idx="37">
                  <c:v>163</c:v>
                </c:pt>
                <c:pt idx="38">
                  <c:v>226</c:v>
                </c:pt>
                <c:pt idx="39">
                  <c:v>81</c:v>
                </c:pt>
                <c:pt idx="40">
                  <c:v>36</c:v>
                </c:pt>
                <c:pt idx="41">
                  <c:v>300</c:v>
                </c:pt>
                <c:pt idx="42">
                  <c:v>378</c:v>
                </c:pt>
                <c:pt idx="43">
                  <c:v>373</c:v>
                </c:pt>
                <c:pt idx="44">
                  <c:v>396</c:v>
                </c:pt>
                <c:pt idx="45">
                  <c:v>416</c:v>
                </c:pt>
                <c:pt idx="46">
                  <c:v>261</c:v>
                </c:pt>
                <c:pt idx="47">
                  <c:v>89</c:v>
                </c:pt>
                <c:pt idx="48">
                  <c:v>436</c:v>
                </c:pt>
                <c:pt idx="49">
                  <c:v>393</c:v>
                </c:pt>
                <c:pt idx="50">
                  <c:v>585</c:v>
                </c:pt>
                <c:pt idx="51">
                  <c:v>463</c:v>
                </c:pt>
                <c:pt idx="52">
                  <c:v>751</c:v>
                </c:pt>
                <c:pt idx="53">
                  <c:v>414</c:v>
                </c:pt>
                <c:pt idx="54">
                  <c:v>285</c:v>
                </c:pt>
                <c:pt idx="55">
                  <c:v>764</c:v>
                </c:pt>
                <c:pt idx="56">
                  <c:v>920</c:v>
                </c:pt>
                <c:pt idx="57">
                  <c:v>394</c:v>
                </c:pt>
                <c:pt idx="58">
                  <c:v>1010</c:v>
                </c:pt>
                <c:pt idx="59">
                  <c:v>921</c:v>
                </c:pt>
                <c:pt idx="60">
                  <c:v>521</c:v>
                </c:pt>
                <c:pt idx="61">
                  <c:v>328</c:v>
                </c:pt>
                <c:pt idx="62">
                  <c:v>630</c:v>
                </c:pt>
                <c:pt idx="63">
                  <c:v>564</c:v>
                </c:pt>
                <c:pt idx="64">
                  <c:v>757</c:v>
                </c:pt>
                <c:pt idx="65">
                  <c:v>815</c:v>
                </c:pt>
                <c:pt idx="66">
                  <c:v>729</c:v>
                </c:pt>
                <c:pt idx="67">
                  <c:v>331</c:v>
                </c:pt>
                <c:pt idx="68">
                  <c:v>127</c:v>
                </c:pt>
                <c:pt idx="69">
                  <c:v>402</c:v>
                </c:pt>
                <c:pt idx="70">
                  <c:v>590</c:v>
                </c:pt>
                <c:pt idx="71">
                  <c:v>939</c:v>
                </c:pt>
                <c:pt idx="72">
                  <c:v>730</c:v>
                </c:pt>
                <c:pt idx="73">
                  <c:v>685</c:v>
                </c:pt>
                <c:pt idx="74">
                  <c:v>253</c:v>
                </c:pt>
                <c:pt idx="75">
                  <c:v>195</c:v>
                </c:pt>
                <c:pt idx="76">
                  <c:v>563</c:v>
                </c:pt>
                <c:pt idx="77">
                  <c:v>184</c:v>
                </c:pt>
                <c:pt idx="78">
                  <c:v>429</c:v>
                </c:pt>
                <c:pt idx="79">
                  <c:v>398</c:v>
                </c:pt>
                <c:pt idx="80">
                  <c:v>361</c:v>
                </c:pt>
                <c:pt idx="81">
                  <c:v>130</c:v>
                </c:pt>
                <c:pt idx="82">
                  <c:v>108</c:v>
                </c:pt>
                <c:pt idx="83">
                  <c:v>518</c:v>
                </c:pt>
                <c:pt idx="84">
                  <c:v>305</c:v>
                </c:pt>
                <c:pt idx="85">
                  <c:v>219</c:v>
                </c:pt>
                <c:pt idx="86">
                  <c:v>250</c:v>
                </c:pt>
                <c:pt idx="87">
                  <c:v>219</c:v>
                </c:pt>
                <c:pt idx="88">
                  <c:v>101</c:v>
                </c:pt>
                <c:pt idx="89">
                  <c:v>44</c:v>
                </c:pt>
                <c:pt idx="90">
                  <c:v>318</c:v>
                </c:pt>
                <c:pt idx="91">
                  <c:v>209</c:v>
                </c:pt>
                <c:pt idx="92">
                  <c:v>198</c:v>
                </c:pt>
                <c:pt idx="93">
                  <c:v>187</c:v>
                </c:pt>
                <c:pt idx="94">
                  <c:v>231</c:v>
                </c:pt>
                <c:pt idx="95">
                  <c:v>128</c:v>
                </c:pt>
                <c:pt idx="96">
                  <c:v>45</c:v>
                </c:pt>
                <c:pt idx="97">
                  <c:v>262</c:v>
                </c:pt>
                <c:pt idx="98">
                  <c:v>165</c:v>
                </c:pt>
                <c:pt idx="99">
                  <c:v>204</c:v>
                </c:pt>
                <c:pt idx="100">
                  <c:v>142</c:v>
                </c:pt>
                <c:pt idx="101">
                  <c:v>307</c:v>
                </c:pt>
                <c:pt idx="102">
                  <c:v>88</c:v>
                </c:pt>
                <c:pt idx="103">
                  <c:v>66</c:v>
                </c:pt>
                <c:pt idx="104">
                  <c:v>277</c:v>
                </c:pt>
                <c:pt idx="105">
                  <c:v>204</c:v>
                </c:pt>
                <c:pt idx="106">
                  <c:v>196</c:v>
                </c:pt>
                <c:pt idx="107">
                  <c:v>119</c:v>
                </c:pt>
                <c:pt idx="108">
                  <c:v>305</c:v>
                </c:pt>
                <c:pt idx="109">
                  <c:v>89</c:v>
                </c:pt>
                <c:pt idx="110">
                  <c:v>48</c:v>
                </c:pt>
                <c:pt idx="111">
                  <c:v>337</c:v>
                </c:pt>
                <c:pt idx="112">
                  <c:v>287</c:v>
                </c:pt>
                <c:pt idx="113">
                  <c:v>238</c:v>
                </c:pt>
                <c:pt idx="114">
                  <c:v>46</c:v>
                </c:pt>
                <c:pt idx="115">
                  <c:v>116</c:v>
                </c:pt>
                <c:pt idx="116">
                  <c:v>128</c:v>
                </c:pt>
                <c:pt idx="117">
                  <c:v>145</c:v>
                </c:pt>
                <c:pt idx="118">
                  <c:v>357</c:v>
                </c:pt>
                <c:pt idx="119">
                  <c:v>332</c:v>
                </c:pt>
                <c:pt idx="120">
                  <c:v>256</c:v>
                </c:pt>
                <c:pt idx="121">
                  <c:v>218</c:v>
                </c:pt>
                <c:pt idx="122">
                  <c:v>94</c:v>
                </c:pt>
                <c:pt idx="123">
                  <c:v>119</c:v>
                </c:pt>
                <c:pt idx="124">
                  <c:v>77</c:v>
                </c:pt>
                <c:pt idx="125">
                  <c:v>546</c:v>
                </c:pt>
                <c:pt idx="126">
                  <c:v>299</c:v>
                </c:pt>
                <c:pt idx="127">
                  <c:v>272</c:v>
                </c:pt>
                <c:pt idx="128">
                  <c:v>332</c:v>
                </c:pt>
                <c:pt idx="129">
                  <c:v>307</c:v>
                </c:pt>
                <c:pt idx="130">
                  <c:v>109</c:v>
                </c:pt>
                <c:pt idx="131">
                  <c:v>56</c:v>
                </c:pt>
                <c:pt idx="132">
                  <c:v>470</c:v>
                </c:pt>
                <c:pt idx="133">
                  <c:v>223</c:v>
                </c:pt>
                <c:pt idx="134">
                  <c:v>284</c:v>
                </c:pt>
                <c:pt idx="135">
                  <c:v>150</c:v>
                </c:pt>
                <c:pt idx="136">
                  <c:v>151</c:v>
                </c:pt>
                <c:pt idx="137">
                  <c:v>67</c:v>
                </c:pt>
                <c:pt idx="138">
                  <c:v>71</c:v>
                </c:pt>
                <c:pt idx="139">
                  <c:v>287</c:v>
                </c:pt>
                <c:pt idx="140">
                  <c:v>154</c:v>
                </c:pt>
                <c:pt idx="141">
                  <c:v>218</c:v>
                </c:pt>
                <c:pt idx="142">
                  <c:v>166</c:v>
                </c:pt>
                <c:pt idx="143">
                  <c:v>194</c:v>
                </c:pt>
                <c:pt idx="144">
                  <c:v>80</c:v>
                </c:pt>
                <c:pt idx="145">
                  <c:v>36</c:v>
                </c:pt>
                <c:pt idx="146">
                  <c:v>173</c:v>
                </c:pt>
                <c:pt idx="147">
                  <c:v>117</c:v>
                </c:pt>
                <c:pt idx="148">
                  <c:v>155</c:v>
                </c:pt>
                <c:pt idx="149">
                  <c:v>99</c:v>
                </c:pt>
                <c:pt idx="150">
                  <c:v>83</c:v>
                </c:pt>
                <c:pt idx="151">
                  <c:v>79</c:v>
                </c:pt>
                <c:pt idx="152">
                  <c:v>18</c:v>
                </c:pt>
                <c:pt idx="153">
                  <c:v>186</c:v>
                </c:pt>
                <c:pt idx="154">
                  <c:v>163</c:v>
                </c:pt>
                <c:pt idx="155">
                  <c:v>161</c:v>
                </c:pt>
                <c:pt idx="156">
                  <c:v>125</c:v>
                </c:pt>
                <c:pt idx="157">
                  <c:v>132</c:v>
                </c:pt>
                <c:pt idx="158">
                  <c:v>54</c:v>
                </c:pt>
                <c:pt idx="159">
                  <c:v>33</c:v>
                </c:pt>
                <c:pt idx="160">
                  <c:v>136</c:v>
                </c:pt>
                <c:pt idx="161">
                  <c:v>87</c:v>
                </c:pt>
                <c:pt idx="162">
                  <c:v>101</c:v>
                </c:pt>
                <c:pt idx="163">
                  <c:v>104</c:v>
                </c:pt>
                <c:pt idx="164">
                  <c:v>91</c:v>
                </c:pt>
                <c:pt idx="165">
                  <c:v>23</c:v>
                </c:pt>
                <c:pt idx="166">
                  <c:v>23</c:v>
                </c:pt>
                <c:pt idx="167">
                  <c:v>100</c:v>
                </c:pt>
                <c:pt idx="168">
                  <c:v>50</c:v>
                </c:pt>
                <c:pt idx="169">
                  <c:v>66</c:v>
                </c:pt>
                <c:pt idx="170">
                  <c:v>56</c:v>
                </c:pt>
                <c:pt idx="171">
                  <c:v>62</c:v>
                </c:pt>
                <c:pt idx="172">
                  <c:v>24</c:v>
                </c:pt>
                <c:pt idx="173">
                  <c:v>23</c:v>
                </c:pt>
                <c:pt idx="174">
                  <c:v>164</c:v>
                </c:pt>
                <c:pt idx="175">
                  <c:v>81</c:v>
                </c:pt>
                <c:pt idx="176">
                  <c:v>68</c:v>
                </c:pt>
                <c:pt idx="177">
                  <c:v>79</c:v>
                </c:pt>
                <c:pt idx="178">
                  <c:v>85</c:v>
                </c:pt>
                <c:pt idx="179">
                  <c:v>18</c:v>
                </c:pt>
                <c:pt idx="180">
                  <c:v>12</c:v>
                </c:pt>
                <c:pt idx="181">
                  <c:v>135</c:v>
                </c:pt>
                <c:pt idx="182">
                  <c:v>67</c:v>
                </c:pt>
                <c:pt idx="183">
                  <c:v>102</c:v>
                </c:pt>
                <c:pt idx="184">
                  <c:v>50</c:v>
                </c:pt>
                <c:pt idx="185">
                  <c:v>51</c:v>
                </c:pt>
                <c:pt idx="186">
                  <c:v>19</c:v>
                </c:pt>
                <c:pt idx="187">
                  <c:v>15</c:v>
                </c:pt>
                <c:pt idx="188">
                  <c:v>89</c:v>
                </c:pt>
                <c:pt idx="189">
                  <c:v>116</c:v>
                </c:pt>
                <c:pt idx="190">
                  <c:v>85</c:v>
                </c:pt>
                <c:pt idx="191">
                  <c:v>38</c:v>
                </c:pt>
                <c:pt idx="192">
                  <c:v>43</c:v>
                </c:pt>
                <c:pt idx="193">
                  <c:v>20</c:v>
                </c:pt>
                <c:pt idx="194">
                  <c:v>13</c:v>
                </c:pt>
                <c:pt idx="195">
                  <c:v>66</c:v>
                </c:pt>
                <c:pt idx="196">
                  <c:v>43</c:v>
                </c:pt>
                <c:pt idx="197">
                  <c:v>31</c:v>
                </c:pt>
                <c:pt idx="198">
                  <c:v>53</c:v>
                </c:pt>
                <c:pt idx="199">
                  <c:v>38</c:v>
                </c:pt>
                <c:pt idx="200">
                  <c:v>10</c:v>
                </c:pt>
                <c:pt idx="201">
                  <c:v>8</c:v>
                </c:pt>
                <c:pt idx="202">
                  <c:v>45</c:v>
                </c:pt>
                <c:pt idx="203">
                  <c:v>48</c:v>
                </c:pt>
                <c:pt idx="204">
                  <c:v>30</c:v>
                </c:pt>
                <c:pt idx="205">
                  <c:v>39</c:v>
                </c:pt>
                <c:pt idx="206">
                  <c:v>22</c:v>
                </c:pt>
                <c:pt idx="207">
                  <c:v>6</c:v>
                </c:pt>
                <c:pt idx="208">
                  <c:v>5</c:v>
                </c:pt>
                <c:pt idx="209">
                  <c:v>40</c:v>
                </c:pt>
                <c:pt idx="210">
                  <c:v>25</c:v>
                </c:pt>
                <c:pt idx="211">
                  <c:v>22</c:v>
                </c:pt>
                <c:pt idx="212">
                  <c:v>21</c:v>
                </c:pt>
                <c:pt idx="213">
                  <c:v>6</c:v>
                </c:pt>
                <c:pt idx="214">
                  <c:v>6</c:v>
                </c:pt>
                <c:pt idx="215">
                  <c:v>4</c:v>
                </c:pt>
                <c:pt idx="216">
                  <c:v>6</c:v>
                </c:pt>
                <c:pt idx="217">
                  <c:v>27</c:v>
                </c:pt>
                <c:pt idx="218">
                  <c:v>34</c:v>
                </c:pt>
                <c:pt idx="219">
                  <c:v>17</c:v>
                </c:pt>
                <c:pt idx="220">
                  <c:v>11</c:v>
                </c:pt>
                <c:pt idx="221">
                  <c:v>6</c:v>
                </c:pt>
                <c:pt idx="222">
                  <c:v>1</c:v>
                </c:pt>
                <c:pt idx="223">
                  <c:v>9</c:v>
                </c:pt>
                <c:pt idx="224">
                  <c:v>8</c:v>
                </c:pt>
                <c:pt idx="225">
                  <c:v>5</c:v>
                </c:pt>
                <c:pt idx="226">
                  <c:v>9</c:v>
                </c:pt>
                <c:pt idx="227">
                  <c:v>7</c:v>
                </c:pt>
                <c:pt idx="228">
                  <c:v>2</c:v>
                </c:pt>
                <c:pt idx="229">
                  <c:v>2</c:v>
                </c:pt>
                <c:pt idx="230">
                  <c:v>15</c:v>
                </c:pt>
                <c:pt idx="231">
                  <c:v>7</c:v>
                </c:pt>
                <c:pt idx="232">
                  <c:v>7</c:v>
                </c:pt>
                <c:pt idx="233">
                  <c:v>13</c:v>
                </c:pt>
                <c:pt idx="234">
                  <c:v>7</c:v>
                </c:pt>
                <c:pt idx="235">
                  <c:v>2</c:v>
                </c:pt>
                <c:pt idx="236">
                  <c:v>0</c:v>
                </c:pt>
                <c:pt idx="237">
                  <c:v>9</c:v>
                </c:pt>
                <c:pt idx="238">
                  <c:v>10</c:v>
                </c:pt>
                <c:pt idx="239">
                  <c:v>3</c:v>
                </c:pt>
                <c:pt idx="240">
                  <c:v>4</c:v>
                </c:pt>
                <c:pt idx="241">
                  <c:v>6</c:v>
                </c:pt>
                <c:pt idx="242">
                  <c:v>0</c:v>
                </c:pt>
                <c:pt idx="243">
                  <c:v>1</c:v>
                </c:pt>
                <c:pt idx="244">
                  <c:v>2</c:v>
                </c:pt>
                <c:pt idx="245">
                  <c:v>2</c:v>
                </c:pt>
                <c:pt idx="246">
                  <c:v>3</c:v>
                </c:pt>
                <c:pt idx="247">
                  <c:v>5</c:v>
                </c:pt>
                <c:pt idx="248">
                  <c:v>3</c:v>
                </c:pt>
                <c:pt idx="249">
                  <c:v>1</c:v>
                </c:pt>
                <c:pt idx="250">
                  <c:v>3</c:v>
                </c:pt>
                <c:pt idx="251">
                  <c:v>6</c:v>
                </c:pt>
                <c:pt idx="252">
                  <c:v>6</c:v>
                </c:pt>
                <c:pt idx="253">
                  <c:v>0</c:v>
                </c:pt>
                <c:pt idx="254">
                  <c:v>4</c:v>
                </c:pt>
                <c:pt idx="255">
                  <c:v>4</c:v>
                </c:pt>
                <c:pt idx="256">
                  <c:v>1</c:v>
                </c:pt>
                <c:pt idx="257">
                  <c:v>0</c:v>
                </c:pt>
                <c:pt idx="258">
                  <c:v>8</c:v>
                </c:pt>
                <c:pt idx="259">
                  <c:v>4</c:v>
                </c:pt>
                <c:pt idx="260">
                  <c:v>4</c:v>
                </c:pt>
                <c:pt idx="261">
                  <c:v>3</c:v>
                </c:pt>
                <c:pt idx="262">
                  <c:v>1</c:v>
                </c:pt>
                <c:pt idx="263">
                  <c:v>0</c:v>
                </c:pt>
                <c:pt idx="264">
                  <c:v>0</c:v>
                </c:pt>
                <c:pt idx="265">
                  <c:v>4</c:v>
                </c:pt>
                <c:pt idx="266">
                  <c:v>1</c:v>
                </c:pt>
                <c:pt idx="267">
                  <c:v>1</c:v>
                </c:pt>
                <c:pt idx="268">
                  <c:v>1</c:v>
                </c:pt>
                <c:pt idx="269">
                  <c:v>0</c:v>
                </c:pt>
                <c:pt idx="270">
                  <c:v>0</c:v>
                </c:pt>
                <c:pt idx="271">
                  <c:v>0</c:v>
                </c:pt>
                <c:pt idx="272">
                  <c:v>0</c:v>
                </c:pt>
                <c:pt idx="273">
                  <c:v>0</c:v>
                </c:pt>
                <c:pt idx="274">
                  <c:v>3</c:v>
                </c:pt>
                <c:pt idx="275">
                  <c:v>2</c:v>
                </c:pt>
                <c:pt idx="276">
                  <c:v>0</c:v>
                </c:pt>
                <c:pt idx="277">
                  <c:v>0</c:v>
                </c:pt>
                <c:pt idx="278">
                  <c:v>0</c:v>
                </c:pt>
                <c:pt idx="279">
                  <c:v>0</c:v>
                </c:pt>
                <c:pt idx="280">
                  <c:v>0</c:v>
                </c:pt>
                <c:pt idx="281">
                  <c:v>0</c:v>
                </c:pt>
                <c:pt idx="282">
                  <c:v>0</c:v>
                </c:pt>
                <c:pt idx="283">
                  <c:v>1</c:v>
                </c:pt>
                <c:pt idx="284">
                  <c:v>0</c:v>
                </c:pt>
                <c:pt idx="285">
                  <c:v>0</c:v>
                </c:pt>
                <c:pt idx="286">
                  <c:v>0</c:v>
                </c:pt>
                <c:pt idx="287">
                  <c:v>0</c:v>
                </c:pt>
                <c:pt idx="288">
                  <c:v>0</c:v>
                </c:pt>
                <c:pt idx="289">
                  <c:v>1</c:v>
                </c:pt>
                <c:pt idx="290">
                  <c:v>0</c:v>
                </c:pt>
                <c:pt idx="291">
                  <c:v>0</c:v>
                </c:pt>
                <c:pt idx="292">
                  <c:v>0</c:v>
                </c:pt>
                <c:pt idx="293">
                  <c:v>0</c:v>
                </c:pt>
                <c:pt idx="294">
                  <c:v>0</c:v>
                </c:pt>
                <c:pt idx="295">
                  <c:v>1</c:v>
                </c:pt>
                <c:pt idx="296">
                  <c:v>1</c:v>
                </c:pt>
                <c:pt idx="297">
                  <c:v>0</c:v>
                </c:pt>
                <c:pt idx="298">
                  <c:v>0</c:v>
                </c:pt>
                <c:pt idx="299">
                  <c:v>0</c:v>
                </c:pt>
                <c:pt idx="300">
                  <c:v>0</c:v>
                </c:pt>
                <c:pt idx="301">
                  <c:v>0</c:v>
                </c:pt>
                <c:pt idx="302">
                  <c:v>1</c:v>
                </c:pt>
                <c:pt idx="303">
                  <c:v>1</c:v>
                </c:pt>
                <c:pt idx="304">
                  <c:v>0</c:v>
                </c:pt>
                <c:pt idx="305">
                  <c:v>0</c:v>
                </c:pt>
                <c:pt idx="306">
                  <c:v>1</c:v>
                </c:pt>
                <c:pt idx="307">
                  <c:v>0</c:v>
                </c:pt>
                <c:pt idx="308">
                  <c:v>0</c:v>
                </c:pt>
                <c:pt idx="309">
                  <c:v>0</c:v>
                </c:pt>
                <c:pt idx="310">
                  <c:v>1</c:v>
                </c:pt>
                <c:pt idx="311">
                  <c:v>0</c:v>
                </c:pt>
                <c:pt idx="312">
                  <c:v>0</c:v>
                </c:pt>
                <c:pt idx="313">
                  <c:v>1</c:v>
                </c:pt>
                <c:pt idx="314">
                  <c:v>0</c:v>
                </c:pt>
                <c:pt idx="315">
                  <c:v>0</c:v>
                </c:pt>
                <c:pt idx="316">
                  <c:v>0</c:v>
                </c:pt>
                <c:pt idx="317">
                  <c:v>0</c:v>
                </c:pt>
                <c:pt idx="318">
                  <c:v>0</c:v>
                </c:pt>
                <c:pt idx="319">
                  <c:v>0</c:v>
                </c:pt>
                <c:pt idx="320">
                  <c:v>0</c:v>
                </c:pt>
                <c:pt idx="321">
                  <c:v>0</c:v>
                </c:pt>
                <c:pt idx="322">
                  <c:v>0</c:v>
                </c:pt>
                <c:pt idx="323">
                  <c:v>1</c:v>
                </c:pt>
                <c:pt idx="324">
                  <c:v>0</c:v>
                </c:pt>
                <c:pt idx="325">
                  <c:v>0</c:v>
                </c:pt>
                <c:pt idx="326">
                  <c:v>1</c:v>
                </c:pt>
                <c:pt idx="327">
                  <c:v>0</c:v>
                </c:pt>
                <c:pt idx="328">
                  <c:v>0</c:v>
                </c:pt>
                <c:pt idx="329">
                  <c:v>1</c:v>
                </c:pt>
                <c:pt idx="330">
                  <c:v>2</c:v>
                </c:pt>
                <c:pt idx="331">
                  <c:v>0</c:v>
                </c:pt>
                <c:pt idx="332">
                  <c:v>0</c:v>
                </c:pt>
                <c:pt idx="333">
                  <c:v>0</c:v>
                </c:pt>
                <c:pt idx="334">
                  <c:v>0</c:v>
                </c:pt>
                <c:pt idx="335">
                  <c:v>0</c:v>
                </c:pt>
                <c:pt idx="336">
                  <c:v>0</c:v>
                </c:pt>
                <c:pt idx="337">
                  <c:v>0</c:v>
                </c:pt>
                <c:pt idx="338">
                  <c:v>0</c:v>
                </c:pt>
                <c:pt idx="339">
                  <c:v>0</c:v>
                </c:pt>
                <c:pt idx="340">
                  <c:v>0</c:v>
                </c:pt>
                <c:pt idx="341">
                  <c:v>1</c:v>
                </c:pt>
                <c:pt idx="342">
                  <c:v>0</c:v>
                </c:pt>
                <c:pt idx="343">
                  <c:v>0</c:v>
                </c:pt>
                <c:pt idx="344">
                  <c:v>1</c:v>
                </c:pt>
                <c:pt idx="345">
                  <c:v>0</c:v>
                </c:pt>
                <c:pt idx="346">
                  <c:v>0</c:v>
                </c:pt>
                <c:pt idx="347">
                  <c:v>0</c:v>
                </c:pt>
                <c:pt idx="348">
                  <c:v>0</c:v>
                </c:pt>
                <c:pt idx="349">
                  <c:v>1</c:v>
                </c:pt>
                <c:pt idx="350">
                  <c:v>1</c:v>
                </c:pt>
                <c:pt idx="351">
                  <c:v>0</c:v>
                </c:pt>
                <c:pt idx="352">
                  <c:v>1</c:v>
                </c:pt>
                <c:pt idx="353">
                  <c:v>0</c:v>
                </c:pt>
                <c:pt idx="354">
                  <c:v>0</c:v>
                </c:pt>
                <c:pt idx="355">
                  <c:v>0</c:v>
                </c:pt>
                <c:pt idx="356">
                  <c:v>3</c:v>
                </c:pt>
                <c:pt idx="357">
                  <c:v>0</c:v>
                </c:pt>
                <c:pt idx="358">
                  <c:v>0</c:v>
                </c:pt>
                <c:pt idx="359">
                  <c:v>1</c:v>
                </c:pt>
                <c:pt idx="360">
                  <c:v>1</c:v>
                </c:pt>
                <c:pt idx="361">
                  <c:v>1</c:v>
                </c:pt>
                <c:pt idx="362">
                  <c:v>0</c:v>
                </c:pt>
                <c:pt idx="363">
                  <c:v>0</c:v>
                </c:pt>
                <c:pt idx="364">
                  <c:v>0</c:v>
                </c:pt>
                <c:pt idx="365">
                  <c:v>4</c:v>
                </c:pt>
                <c:pt idx="366">
                  <c:v>5</c:v>
                </c:pt>
                <c:pt idx="367">
                  <c:v>3</c:v>
                </c:pt>
                <c:pt idx="368">
                  <c:v>1</c:v>
                </c:pt>
                <c:pt idx="369">
                  <c:v>0</c:v>
                </c:pt>
                <c:pt idx="370">
                  <c:v>5</c:v>
                </c:pt>
                <c:pt idx="371">
                  <c:v>2</c:v>
                </c:pt>
                <c:pt idx="372">
                  <c:v>1</c:v>
                </c:pt>
                <c:pt idx="373">
                  <c:v>2</c:v>
                </c:pt>
                <c:pt idx="374">
                  <c:v>0</c:v>
                </c:pt>
                <c:pt idx="375">
                  <c:v>0</c:v>
                </c:pt>
                <c:pt idx="376">
                  <c:v>1</c:v>
                </c:pt>
                <c:pt idx="377">
                  <c:v>1</c:v>
                </c:pt>
                <c:pt idx="378">
                  <c:v>1</c:v>
                </c:pt>
                <c:pt idx="379">
                  <c:v>0</c:v>
                </c:pt>
                <c:pt idx="380">
                  <c:v>0</c:v>
                </c:pt>
                <c:pt idx="381">
                  <c:v>0</c:v>
                </c:pt>
                <c:pt idx="382">
                  <c:v>1</c:v>
                </c:pt>
                <c:pt idx="383">
                  <c:v>0</c:v>
                </c:pt>
                <c:pt idx="384">
                  <c:v>5</c:v>
                </c:pt>
                <c:pt idx="385">
                  <c:v>8</c:v>
                </c:pt>
                <c:pt idx="386">
                  <c:v>3</c:v>
                </c:pt>
                <c:pt idx="387">
                  <c:v>0</c:v>
                </c:pt>
                <c:pt idx="388">
                  <c:v>0</c:v>
                </c:pt>
                <c:pt idx="389">
                  <c:v>1</c:v>
                </c:pt>
                <c:pt idx="390">
                  <c:v>1</c:v>
                </c:pt>
                <c:pt idx="391">
                  <c:v>7</c:v>
                </c:pt>
                <c:pt idx="392">
                  <c:v>2</c:v>
                </c:pt>
                <c:pt idx="393">
                  <c:v>8</c:v>
                </c:pt>
                <c:pt idx="394">
                  <c:v>3</c:v>
                </c:pt>
                <c:pt idx="395">
                  <c:v>3</c:v>
                </c:pt>
                <c:pt idx="396">
                  <c:v>1</c:v>
                </c:pt>
                <c:pt idx="397">
                  <c:v>1</c:v>
                </c:pt>
                <c:pt idx="398">
                  <c:v>5</c:v>
                </c:pt>
                <c:pt idx="399">
                  <c:v>7</c:v>
                </c:pt>
                <c:pt idx="400">
                  <c:v>13</c:v>
                </c:pt>
                <c:pt idx="401">
                  <c:v>3</c:v>
                </c:pt>
                <c:pt idx="402">
                  <c:v>27</c:v>
                </c:pt>
                <c:pt idx="403">
                  <c:v>2</c:v>
                </c:pt>
                <c:pt idx="404">
                  <c:v>0</c:v>
                </c:pt>
                <c:pt idx="405">
                  <c:v>3</c:v>
                </c:pt>
                <c:pt idx="406">
                  <c:v>3</c:v>
                </c:pt>
                <c:pt idx="407">
                  <c:v>21</c:v>
                </c:pt>
                <c:pt idx="408">
                  <c:v>6</c:v>
                </c:pt>
                <c:pt idx="409">
                  <c:v>8</c:v>
                </c:pt>
                <c:pt idx="410">
                  <c:v>2</c:v>
                </c:pt>
                <c:pt idx="411">
                  <c:v>1</c:v>
                </c:pt>
                <c:pt idx="412">
                  <c:v>18</c:v>
                </c:pt>
                <c:pt idx="413">
                  <c:v>13</c:v>
                </c:pt>
                <c:pt idx="414">
                  <c:v>13</c:v>
                </c:pt>
                <c:pt idx="415">
                  <c:v>9</c:v>
                </c:pt>
                <c:pt idx="416">
                  <c:v>15</c:v>
                </c:pt>
                <c:pt idx="417">
                  <c:v>1</c:v>
                </c:pt>
                <c:pt idx="418">
                  <c:v>4</c:v>
                </c:pt>
                <c:pt idx="419">
                  <c:v>33</c:v>
                </c:pt>
                <c:pt idx="420">
                  <c:v>14</c:v>
                </c:pt>
                <c:pt idx="421">
                  <c:v>28</c:v>
                </c:pt>
                <c:pt idx="422">
                  <c:v>3</c:v>
                </c:pt>
                <c:pt idx="423">
                  <c:v>26</c:v>
                </c:pt>
                <c:pt idx="424">
                  <c:v>12</c:v>
                </c:pt>
                <c:pt idx="425">
                  <c:v>15</c:v>
                </c:pt>
                <c:pt idx="426">
                  <c:v>76</c:v>
                </c:pt>
                <c:pt idx="427">
                  <c:v>38</c:v>
                </c:pt>
                <c:pt idx="428">
                  <c:v>35</c:v>
                </c:pt>
                <c:pt idx="429">
                  <c:v>76</c:v>
                </c:pt>
                <c:pt idx="430">
                  <c:v>50</c:v>
                </c:pt>
                <c:pt idx="431">
                  <c:v>19</c:v>
                </c:pt>
                <c:pt idx="432">
                  <c:v>10</c:v>
                </c:pt>
                <c:pt idx="433">
                  <c:v>80</c:v>
                </c:pt>
                <c:pt idx="434">
                  <c:v>54</c:v>
                </c:pt>
                <c:pt idx="435">
                  <c:v>44</c:v>
                </c:pt>
                <c:pt idx="436">
                  <c:v>54</c:v>
                </c:pt>
                <c:pt idx="437">
                  <c:v>51</c:v>
                </c:pt>
                <c:pt idx="438">
                  <c:v>33</c:v>
                </c:pt>
                <c:pt idx="439">
                  <c:v>28</c:v>
                </c:pt>
                <c:pt idx="440">
                  <c:v>98</c:v>
                </c:pt>
                <c:pt idx="441">
                  <c:v>65</c:v>
                </c:pt>
                <c:pt idx="442">
                  <c:v>36</c:v>
                </c:pt>
                <c:pt idx="443">
                  <c:v>97</c:v>
                </c:pt>
                <c:pt idx="444">
                  <c:v>136</c:v>
                </c:pt>
                <c:pt idx="445">
                  <c:v>37</c:v>
                </c:pt>
                <c:pt idx="446">
                  <c:v>16</c:v>
                </c:pt>
                <c:pt idx="447">
                  <c:v>116</c:v>
                </c:pt>
                <c:pt idx="448">
                  <c:v>67</c:v>
                </c:pt>
                <c:pt idx="449">
                  <c:v>86</c:v>
                </c:pt>
                <c:pt idx="450">
                  <c:v>77</c:v>
                </c:pt>
                <c:pt idx="451">
                  <c:v>100</c:v>
                </c:pt>
                <c:pt idx="452">
                  <c:v>27</c:v>
                </c:pt>
                <c:pt idx="453">
                  <c:v>15</c:v>
                </c:pt>
                <c:pt idx="454">
                  <c:v>85</c:v>
                </c:pt>
                <c:pt idx="455">
                  <c:v>62</c:v>
                </c:pt>
                <c:pt idx="456">
                  <c:v>70</c:v>
                </c:pt>
                <c:pt idx="457">
                  <c:v>63</c:v>
                </c:pt>
                <c:pt idx="458">
                  <c:v>41</c:v>
                </c:pt>
                <c:pt idx="459">
                  <c:v>59</c:v>
                </c:pt>
                <c:pt idx="460">
                  <c:v>15</c:v>
                </c:pt>
                <c:pt idx="461">
                  <c:v>77</c:v>
                </c:pt>
                <c:pt idx="462">
                  <c:v>58</c:v>
                </c:pt>
                <c:pt idx="463">
                  <c:v>52</c:v>
                </c:pt>
                <c:pt idx="464">
                  <c:v>56</c:v>
                </c:pt>
                <c:pt idx="465">
                  <c:v>46</c:v>
                </c:pt>
                <c:pt idx="466">
                  <c:v>19</c:v>
                </c:pt>
                <c:pt idx="467">
                  <c:v>7</c:v>
                </c:pt>
                <c:pt idx="468">
                  <c:v>46</c:v>
                </c:pt>
                <c:pt idx="469">
                  <c:v>63</c:v>
                </c:pt>
                <c:pt idx="470">
                  <c:v>43</c:v>
                </c:pt>
                <c:pt idx="471">
                  <c:v>24</c:v>
                </c:pt>
                <c:pt idx="472">
                  <c:v>26</c:v>
                </c:pt>
                <c:pt idx="473">
                  <c:v>10</c:v>
                </c:pt>
                <c:pt idx="474">
                  <c:v>13</c:v>
                </c:pt>
                <c:pt idx="475" formatCode="General">
                  <c:v>39</c:v>
                </c:pt>
                <c:pt idx="476" formatCode="General">
                  <c:v>20</c:v>
                </c:pt>
                <c:pt idx="477" formatCode="General">
                  <c:v>11</c:v>
                </c:pt>
                <c:pt idx="478" formatCode="General">
                  <c:v>9</c:v>
                </c:pt>
                <c:pt idx="479" formatCode="General">
                  <c:v>7</c:v>
                </c:pt>
                <c:pt idx="480" formatCode="General">
                  <c:v>8</c:v>
                </c:pt>
                <c:pt idx="481" formatCode="General">
                  <c:v>4</c:v>
                </c:pt>
                <c:pt idx="482" formatCode="General">
                  <c:v>17</c:v>
                </c:pt>
                <c:pt idx="483" formatCode="General">
                  <c:v>23</c:v>
                </c:pt>
                <c:pt idx="484" formatCode="General">
                  <c:v>13</c:v>
                </c:pt>
                <c:pt idx="485" formatCode="General">
                  <c:v>16</c:v>
                </c:pt>
                <c:pt idx="486" formatCode="General">
                  <c:v>15</c:v>
                </c:pt>
                <c:pt idx="487" formatCode="General">
                  <c:v>1</c:v>
                </c:pt>
                <c:pt idx="488" formatCode="General">
                  <c:v>1</c:v>
                </c:pt>
                <c:pt idx="489" formatCode="General">
                  <c:v>17</c:v>
                </c:pt>
                <c:pt idx="490" formatCode="General">
                  <c:v>24</c:v>
                </c:pt>
                <c:pt idx="491" formatCode="General">
                  <c:v>15</c:v>
                </c:pt>
                <c:pt idx="492" formatCode="General">
                  <c:v>15</c:v>
                </c:pt>
                <c:pt idx="493" formatCode="General">
                  <c:v>14</c:v>
                </c:pt>
                <c:pt idx="494" formatCode="General">
                  <c:v>5</c:v>
                </c:pt>
                <c:pt idx="495" formatCode="General">
                  <c:v>3</c:v>
                </c:pt>
                <c:pt idx="496" formatCode="General">
                  <c:v>12</c:v>
                </c:pt>
                <c:pt idx="497" formatCode="General">
                  <c:v>20</c:v>
                </c:pt>
                <c:pt idx="498" formatCode="General">
                  <c:v>21</c:v>
                </c:pt>
                <c:pt idx="499" formatCode="General">
                  <c:v>20</c:v>
                </c:pt>
                <c:pt idx="500" formatCode="General">
                  <c:v>1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1C0-4B0C-A220-7796AA6DAFC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-27"/>
        <c:axId val="529925759"/>
        <c:axId val="533925071"/>
      </c:barChart>
      <c:dateAx>
        <c:axId val="529925759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33925071"/>
        <c:crosses val="autoZero"/>
        <c:auto val="1"/>
        <c:lblOffset val="100"/>
        <c:baseTimeUnit val="days"/>
      </c:dateAx>
      <c:valAx>
        <c:axId val="533925071"/>
        <c:scaling>
          <c:orientation val="minMax"/>
        </c:scaling>
        <c:delete val="0"/>
        <c:axPos val="l"/>
        <c:numFmt formatCode="#\ ##0_ ;\-#\ ##0\ 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2992575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Počet nákaz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27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V$1</c:f>
              <c:strCache>
                <c:ptCount val="21"/>
                <c:pt idx="0">
                  <c:v>05/2020</c:v>
                </c:pt>
                <c:pt idx="1">
                  <c:v>06/2020</c:v>
                </c:pt>
                <c:pt idx="2">
                  <c:v>07/2020</c:v>
                </c:pt>
                <c:pt idx="3">
                  <c:v>08/2020</c:v>
                </c:pt>
                <c:pt idx="4">
                  <c:v>09/2020</c:v>
                </c:pt>
                <c:pt idx="5">
                  <c:v>10/2020</c:v>
                </c:pt>
                <c:pt idx="6">
                  <c:v>11/2020</c:v>
                </c:pt>
                <c:pt idx="7">
                  <c:v>12/2020</c:v>
                </c:pt>
                <c:pt idx="8">
                  <c:v>01/2021</c:v>
                </c:pt>
                <c:pt idx="9">
                  <c:v>02/2021</c:v>
                </c:pt>
                <c:pt idx="10">
                  <c:v>03/2021</c:v>
                </c:pt>
                <c:pt idx="11">
                  <c:v>04/2021</c:v>
                </c:pt>
                <c:pt idx="12">
                  <c:v>05/2021</c:v>
                </c:pt>
                <c:pt idx="13">
                  <c:v>06/2021</c:v>
                </c:pt>
                <c:pt idx="14">
                  <c:v>07/2021</c:v>
                </c:pt>
                <c:pt idx="15">
                  <c:v>08/2021</c:v>
                </c:pt>
                <c:pt idx="16">
                  <c:v>09/2021</c:v>
                </c:pt>
                <c:pt idx="17">
                  <c:v>10/2021</c:v>
                </c:pt>
                <c:pt idx="18">
                  <c:v>11/2021</c:v>
                </c:pt>
                <c:pt idx="19">
                  <c:v>12/2021</c:v>
                </c:pt>
                <c:pt idx="20">
                  <c:v>01/2022</c:v>
                </c:pt>
              </c:strCache>
            </c:strRef>
          </c:cat>
          <c:val>
            <c:numRef>
              <c:f>List1!$B$2:$V$2</c:f>
              <c:numCache>
                <c:formatCode>General</c:formatCode>
                <c:ptCount val="21"/>
                <c:pt idx="0">
                  <c:v>110</c:v>
                </c:pt>
                <c:pt idx="1">
                  <c:v>84</c:v>
                </c:pt>
                <c:pt idx="2">
                  <c:v>112</c:v>
                </c:pt>
                <c:pt idx="3">
                  <c:v>240</c:v>
                </c:pt>
                <c:pt idx="4">
                  <c:v>1126</c:v>
                </c:pt>
                <c:pt idx="5">
                  <c:v>9694</c:v>
                </c:pt>
                <c:pt idx="6">
                  <c:v>8383</c:v>
                </c:pt>
                <c:pt idx="7">
                  <c:v>4588</c:v>
                </c:pt>
                <c:pt idx="8">
                  <c:v>3340</c:v>
                </c:pt>
                <c:pt idx="9">
                  <c:v>1800</c:v>
                </c:pt>
                <c:pt idx="10">
                  <c:v>968</c:v>
                </c:pt>
                <c:pt idx="11">
                  <c:v>135</c:v>
                </c:pt>
                <c:pt idx="12">
                  <c:v>23</c:v>
                </c:pt>
                <c:pt idx="13">
                  <c:v>7</c:v>
                </c:pt>
                <c:pt idx="14">
                  <c:v>8</c:v>
                </c:pt>
                <c:pt idx="15">
                  <c:v>10</c:v>
                </c:pt>
                <c:pt idx="16">
                  <c:v>93</c:v>
                </c:pt>
                <c:pt idx="17">
                  <c:v>182</c:v>
                </c:pt>
                <c:pt idx="18">
                  <c:v>645</c:v>
                </c:pt>
                <c:pt idx="19">
                  <c:v>589</c:v>
                </c:pt>
                <c:pt idx="20">
                  <c:v>6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123-4197-8781-6EB6A238FFB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umrti_klinet</c:v>
                </c:pt>
              </c:strCache>
            </c:strRef>
          </c:tx>
          <c:spPr>
            <a:solidFill>
              <a:schemeClr val="accent4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7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trendline>
            <c:spPr>
              <a:ln w="19050" cap="rnd">
                <a:solidFill>
                  <a:schemeClr val="tx1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Sheet1!$A$2:$A$502</c:f>
              <c:numCache>
                <c:formatCode>m/d/yyyy</c:formatCode>
                <c:ptCount val="501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</c:numCache>
            </c:numRef>
          </c:cat>
          <c:val>
            <c:numRef>
              <c:f>Sheet1!$B$2:$B$502</c:f>
              <c:numCache>
                <c:formatCode>#\ ##0_ ;\-#\ ##0\ </c:formatCode>
                <c:ptCount val="501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1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1</c:v>
                </c:pt>
                <c:pt idx="27">
                  <c:v>0</c:v>
                </c:pt>
                <c:pt idx="28">
                  <c:v>1</c:v>
                </c:pt>
                <c:pt idx="29">
                  <c:v>0</c:v>
                </c:pt>
                <c:pt idx="30">
                  <c:v>2</c:v>
                </c:pt>
                <c:pt idx="31">
                  <c:v>2</c:v>
                </c:pt>
                <c:pt idx="32">
                  <c:v>2</c:v>
                </c:pt>
                <c:pt idx="33">
                  <c:v>3</c:v>
                </c:pt>
                <c:pt idx="34">
                  <c:v>5</c:v>
                </c:pt>
                <c:pt idx="35">
                  <c:v>6</c:v>
                </c:pt>
                <c:pt idx="36">
                  <c:v>5</c:v>
                </c:pt>
                <c:pt idx="37">
                  <c:v>4</c:v>
                </c:pt>
                <c:pt idx="38">
                  <c:v>9</c:v>
                </c:pt>
                <c:pt idx="39">
                  <c:v>6</c:v>
                </c:pt>
                <c:pt idx="40">
                  <c:v>1</c:v>
                </c:pt>
                <c:pt idx="41">
                  <c:v>11</c:v>
                </c:pt>
                <c:pt idx="42">
                  <c:v>9</c:v>
                </c:pt>
                <c:pt idx="43">
                  <c:v>12</c:v>
                </c:pt>
                <c:pt idx="44">
                  <c:v>7</c:v>
                </c:pt>
                <c:pt idx="45">
                  <c:v>8</c:v>
                </c:pt>
                <c:pt idx="46">
                  <c:v>7</c:v>
                </c:pt>
                <c:pt idx="47">
                  <c:v>17</c:v>
                </c:pt>
                <c:pt idx="48">
                  <c:v>20</c:v>
                </c:pt>
                <c:pt idx="49">
                  <c:v>13</c:v>
                </c:pt>
                <c:pt idx="50">
                  <c:v>28</c:v>
                </c:pt>
                <c:pt idx="51">
                  <c:v>17</c:v>
                </c:pt>
                <c:pt idx="52">
                  <c:v>15</c:v>
                </c:pt>
                <c:pt idx="53">
                  <c:v>21</c:v>
                </c:pt>
                <c:pt idx="54">
                  <c:v>25</c:v>
                </c:pt>
                <c:pt idx="55">
                  <c:v>34</c:v>
                </c:pt>
                <c:pt idx="56">
                  <c:v>42</c:v>
                </c:pt>
                <c:pt idx="57">
                  <c:v>27</c:v>
                </c:pt>
                <c:pt idx="58">
                  <c:v>47</c:v>
                </c:pt>
                <c:pt idx="59">
                  <c:v>36</c:v>
                </c:pt>
                <c:pt idx="60">
                  <c:v>46</c:v>
                </c:pt>
                <c:pt idx="61">
                  <c:v>47</c:v>
                </c:pt>
                <c:pt idx="62">
                  <c:v>52</c:v>
                </c:pt>
                <c:pt idx="63">
                  <c:v>48</c:v>
                </c:pt>
                <c:pt idx="64">
                  <c:v>54</c:v>
                </c:pt>
                <c:pt idx="65">
                  <c:v>42</c:v>
                </c:pt>
                <c:pt idx="66">
                  <c:v>45</c:v>
                </c:pt>
                <c:pt idx="67">
                  <c:v>42</c:v>
                </c:pt>
                <c:pt idx="68">
                  <c:v>40</c:v>
                </c:pt>
                <c:pt idx="69">
                  <c:v>38</c:v>
                </c:pt>
                <c:pt idx="70">
                  <c:v>44</c:v>
                </c:pt>
                <c:pt idx="71">
                  <c:v>42</c:v>
                </c:pt>
                <c:pt idx="72">
                  <c:v>48</c:v>
                </c:pt>
                <c:pt idx="73">
                  <c:v>49</c:v>
                </c:pt>
                <c:pt idx="74">
                  <c:v>36</c:v>
                </c:pt>
                <c:pt idx="75">
                  <c:v>25</c:v>
                </c:pt>
                <c:pt idx="76">
                  <c:v>35</c:v>
                </c:pt>
                <c:pt idx="77">
                  <c:v>41</c:v>
                </c:pt>
                <c:pt idx="78">
                  <c:v>40</c:v>
                </c:pt>
                <c:pt idx="79">
                  <c:v>37</c:v>
                </c:pt>
                <c:pt idx="80">
                  <c:v>34</c:v>
                </c:pt>
                <c:pt idx="81">
                  <c:v>39</c:v>
                </c:pt>
                <c:pt idx="82">
                  <c:v>29</c:v>
                </c:pt>
                <c:pt idx="83">
                  <c:v>37</c:v>
                </c:pt>
                <c:pt idx="84">
                  <c:v>41</c:v>
                </c:pt>
                <c:pt idx="85">
                  <c:v>27</c:v>
                </c:pt>
                <c:pt idx="86">
                  <c:v>36</c:v>
                </c:pt>
                <c:pt idx="87">
                  <c:v>31</c:v>
                </c:pt>
                <c:pt idx="88">
                  <c:v>31</c:v>
                </c:pt>
                <c:pt idx="89">
                  <c:v>27</c:v>
                </c:pt>
                <c:pt idx="90">
                  <c:v>41</c:v>
                </c:pt>
                <c:pt idx="91">
                  <c:v>24</c:v>
                </c:pt>
                <c:pt idx="92">
                  <c:v>25</c:v>
                </c:pt>
                <c:pt idx="93">
                  <c:v>20</c:v>
                </c:pt>
                <c:pt idx="94">
                  <c:v>21</c:v>
                </c:pt>
                <c:pt idx="95">
                  <c:v>30</c:v>
                </c:pt>
                <c:pt idx="96">
                  <c:v>17</c:v>
                </c:pt>
                <c:pt idx="97">
                  <c:v>21</c:v>
                </c:pt>
                <c:pt idx="98">
                  <c:v>19</c:v>
                </c:pt>
                <c:pt idx="99">
                  <c:v>15</c:v>
                </c:pt>
                <c:pt idx="100">
                  <c:v>25</c:v>
                </c:pt>
                <c:pt idx="101">
                  <c:v>19</c:v>
                </c:pt>
                <c:pt idx="102">
                  <c:v>25</c:v>
                </c:pt>
                <c:pt idx="103">
                  <c:v>18</c:v>
                </c:pt>
                <c:pt idx="104">
                  <c:v>24</c:v>
                </c:pt>
                <c:pt idx="105">
                  <c:v>26</c:v>
                </c:pt>
                <c:pt idx="106">
                  <c:v>25</c:v>
                </c:pt>
                <c:pt idx="107">
                  <c:v>30</c:v>
                </c:pt>
                <c:pt idx="108">
                  <c:v>22</c:v>
                </c:pt>
                <c:pt idx="109">
                  <c:v>11</c:v>
                </c:pt>
                <c:pt idx="110">
                  <c:v>11</c:v>
                </c:pt>
                <c:pt idx="111">
                  <c:v>34</c:v>
                </c:pt>
                <c:pt idx="112">
                  <c:v>19</c:v>
                </c:pt>
                <c:pt idx="113">
                  <c:v>22</c:v>
                </c:pt>
                <c:pt idx="114">
                  <c:v>14</c:v>
                </c:pt>
                <c:pt idx="115">
                  <c:v>21</c:v>
                </c:pt>
                <c:pt idx="116">
                  <c:v>20</c:v>
                </c:pt>
                <c:pt idx="117">
                  <c:v>11</c:v>
                </c:pt>
                <c:pt idx="118">
                  <c:v>25</c:v>
                </c:pt>
                <c:pt idx="119">
                  <c:v>13</c:v>
                </c:pt>
                <c:pt idx="120">
                  <c:v>14</c:v>
                </c:pt>
                <c:pt idx="121">
                  <c:v>13</c:v>
                </c:pt>
                <c:pt idx="122">
                  <c:v>14</c:v>
                </c:pt>
                <c:pt idx="123">
                  <c:v>24</c:v>
                </c:pt>
                <c:pt idx="124">
                  <c:v>19</c:v>
                </c:pt>
                <c:pt idx="125">
                  <c:v>20</c:v>
                </c:pt>
                <c:pt idx="126">
                  <c:v>20</c:v>
                </c:pt>
                <c:pt idx="127">
                  <c:v>23</c:v>
                </c:pt>
                <c:pt idx="128">
                  <c:v>15</c:v>
                </c:pt>
                <c:pt idx="129">
                  <c:v>21</c:v>
                </c:pt>
                <c:pt idx="130">
                  <c:v>13</c:v>
                </c:pt>
                <c:pt idx="131">
                  <c:v>14</c:v>
                </c:pt>
                <c:pt idx="132">
                  <c:v>21</c:v>
                </c:pt>
                <c:pt idx="133">
                  <c:v>20</c:v>
                </c:pt>
                <c:pt idx="134">
                  <c:v>17</c:v>
                </c:pt>
                <c:pt idx="135">
                  <c:v>23</c:v>
                </c:pt>
                <c:pt idx="136">
                  <c:v>21</c:v>
                </c:pt>
                <c:pt idx="137">
                  <c:v>17</c:v>
                </c:pt>
                <c:pt idx="138">
                  <c:v>18</c:v>
                </c:pt>
                <c:pt idx="139">
                  <c:v>22</c:v>
                </c:pt>
                <c:pt idx="140">
                  <c:v>19</c:v>
                </c:pt>
                <c:pt idx="141">
                  <c:v>17</c:v>
                </c:pt>
                <c:pt idx="142">
                  <c:v>14</c:v>
                </c:pt>
                <c:pt idx="143">
                  <c:v>15</c:v>
                </c:pt>
                <c:pt idx="144">
                  <c:v>10</c:v>
                </c:pt>
                <c:pt idx="145">
                  <c:v>13</c:v>
                </c:pt>
                <c:pt idx="146">
                  <c:v>10</c:v>
                </c:pt>
                <c:pt idx="147">
                  <c:v>17</c:v>
                </c:pt>
                <c:pt idx="148">
                  <c:v>14</c:v>
                </c:pt>
                <c:pt idx="149">
                  <c:v>16</c:v>
                </c:pt>
                <c:pt idx="150">
                  <c:v>16</c:v>
                </c:pt>
                <c:pt idx="151">
                  <c:v>11</c:v>
                </c:pt>
                <c:pt idx="152">
                  <c:v>11</c:v>
                </c:pt>
                <c:pt idx="153">
                  <c:v>16</c:v>
                </c:pt>
                <c:pt idx="154">
                  <c:v>9</c:v>
                </c:pt>
                <c:pt idx="155">
                  <c:v>9</c:v>
                </c:pt>
                <c:pt idx="156">
                  <c:v>12</c:v>
                </c:pt>
                <c:pt idx="157">
                  <c:v>10</c:v>
                </c:pt>
                <c:pt idx="158">
                  <c:v>8</c:v>
                </c:pt>
                <c:pt idx="159">
                  <c:v>7</c:v>
                </c:pt>
                <c:pt idx="160">
                  <c:v>8</c:v>
                </c:pt>
                <c:pt idx="161">
                  <c:v>9</c:v>
                </c:pt>
                <c:pt idx="162">
                  <c:v>7</c:v>
                </c:pt>
                <c:pt idx="163">
                  <c:v>8</c:v>
                </c:pt>
                <c:pt idx="164">
                  <c:v>12</c:v>
                </c:pt>
                <c:pt idx="165">
                  <c:v>9</c:v>
                </c:pt>
                <c:pt idx="166">
                  <c:v>12</c:v>
                </c:pt>
                <c:pt idx="167">
                  <c:v>12</c:v>
                </c:pt>
                <c:pt idx="168">
                  <c:v>6</c:v>
                </c:pt>
                <c:pt idx="169">
                  <c:v>6</c:v>
                </c:pt>
                <c:pt idx="170">
                  <c:v>4</c:v>
                </c:pt>
                <c:pt idx="171">
                  <c:v>6</c:v>
                </c:pt>
                <c:pt idx="172">
                  <c:v>6</c:v>
                </c:pt>
                <c:pt idx="173">
                  <c:v>5</c:v>
                </c:pt>
                <c:pt idx="174">
                  <c:v>8</c:v>
                </c:pt>
                <c:pt idx="175">
                  <c:v>6</c:v>
                </c:pt>
                <c:pt idx="176">
                  <c:v>5</c:v>
                </c:pt>
                <c:pt idx="177">
                  <c:v>7</c:v>
                </c:pt>
                <c:pt idx="178">
                  <c:v>4</c:v>
                </c:pt>
                <c:pt idx="179">
                  <c:v>6</c:v>
                </c:pt>
                <c:pt idx="180">
                  <c:v>5</c:v>
                </c:pt>
                <c:pt idx="181">
                  <c:v>14</c:v>
                </c:pt>
                <c:pt idx="182">
                  <c:v>16</c:v>
                </c:pt>
                <c:pt idx="183">
                  <c:v>10</c:v>
                </c:pt>
                <c:pt idx="184">
                  <c:v>4</c:v>
                </c:pt>
                <c:pt idx="185">
                  <c:v>6</c:v>
                </c:pt>
                <c:pt idx="186">
                  <c:v>9</c:v>
                </c:pt>
                <c:pt idx="187">
                  <c:v>4</c:v>
                </c:pt>
                <c:pt idx="188">
                  <c:v>5</c:v>
                </c:pt>
                <c:pt idx="189">
                  <c:v>5</c:v>
                </c:pt>
                <c:pt idx="190">
                  <c:v>6</c:v>
                </c:pt>
                <c:pt idx="191">
                  <c:v>2</c:v>
                </c:pt>
                <c:pt idx="192">
                  <c:v>6</c:v>
                </c:pt>
                <c:pt idx="193">
                  <c:v>5</c:v>
                </c:pt>
                <c:pt idx="194">
                  <c:v>6</c:v>
                </c:pt>
                <c:pt idx="195">
                  <c:v>8</c:v>
                </c:pt>
                <c:pt idx="196">
                  <c:v>8</c:v>
                </c:pt>
                <c:pt idx="197">
                  <c:v>5</c:v>
                </c:pt>
                <c:pt idx="198">
                  <c:v>6</c:v>
                </c:pt>
                <c:pt idx="199">
                  <c:v>1</c:v>
                </c:pt>
                <c:pt idx="200">
                  <c:v>5</c:v>
                </c:pt>
                <c:pt idx="201">
                  <c:v>7</c:v>
                </c:pt>
                <c:pt idx="202">
                  <c:v>5</c:v>
                </c:pt>
                <c:pt idx="203">
                  <c:v>2</c:v>
                </c:pt>
                <c:pt idx="204">
                  <c:v>3</c:v>
                </c:pt>
                <c:pt idx="205">
                  <c:v>3</c:v>
                </c:pt>
                <c:pt idx="206">
                  <c:v>4</c:v>
                </c:pt>
                <c:pt idx="207">
                  <c:v>2</c:v>
                </c:pt>
                <c:pt idx="208">
                  <c:v>1</c:v>
                </c:pt>
                <c:pt idx="209">
                  <c:v>4</c:v>
                </c:pt>
                <c:pt idx="210">
                  <c:v>2</c:v>
                </c:pt>
                <c:pt idx="211">
                  <c:v>2</c:v>
                </c:pt>
                <c:pt idx="212">
                  <c:v>1</c:v>
                </c:pt>
                <c:pt idx="213">
                  <c:v>2</c:v>
                </c:pt>
                <c:pt idx="214">
                  <c:v>1</c:v>
                </c:pt>
                <c:pt idx="215">
                  <c:v>2</c:v>
                </c:pt>
                <c:pt idx="216">
                  <c:v>3</c:v>
                </c:pt>
                <c:pt idx="217">
                  <c:v>2</c:v>
                </c:pt>
                <c:pt idx="218">
                  <c:v>0</c:v>
                </c:pt>
                <c:pt idx="219">
                  <c:v>0</c:v>
                </c:pt>
                <c:pt idx="220">
                  <c:v>0</c:v>
                </c:pt>
                <c:pt idx="221">
                  <c:v>0</c:v>
                </c:pt>
                <c:pt idx="222">
                  <c:v>2</c:v>
                </c:pt>
                <c:pt idx="223">
                  <c:v>0</c:v>
                </c:pt>
                <c:pt idx="224">
                  <c:v>2</c:v>
                </c:pt>
                <c:pt idx="225">
                  <c:v>0</c:v>
                </c:pt>
                <c:pt idx="226">
                  <c:v>0</c:v>
                </c:pt>
                <c:pt idx="227">
                  <c:v>0</c:v>
                </c:pt>
                <c:pt idx="228">
                  <c:v>0</c:v>
                </c:pt>
                <c:pt idx="229">
                  <c:v>1</c:v>
                </c:pt>
                <c:pt idx="230">
                  <c:v>1</c:v>
                </c:pt>
                <c:pt idx="231">
                  <c:v>0</c:v>
                </c:pt>
                <c:pt idx="232">
                  <c:v>2</c:v>
                </c:pt>
                <c:pt idx="233">
                  <c:v>0</c:v>
                </c:pt>
                <c:pt idx="234">
                  <c:v>2</c:v>
                </c:pt>
                <c:pt idx="235">
                  <c:v>1</c:v>
                </c:pt>
                <c:pt idx="236">
                  <c:v>1</c:v>
                </c:pt>
                <c:pt idx="237">
                  <c:v>0</c:v>
                </c:pt>
                <c:pt idx="238">
                  <c:v>1</c:v>
                </c:pt>
                <c:pt idx="239">
                  <c:v>0</c:v>
                </c:pt>
                <c:pt idx="240">
                  <c:v>0</c:v>
                </c:pt>
                <c:pt idx="241">
                  <c:v>0</c:v>
                </c:pt>
                <c:pt idx="242">
                  <c:v>0</c:v>
                </c:pt>
                <c:pt idx="243">
                  <c:v>0</c:v>
                </c:pt>
                <c:pt idx="244">
                  <c:v>0</c:v>
                </c:pt>
                <c:pt idx="245">
                  <c:v>0</c:v>
                </c:pt>
                <c:pt idx="246">
                  <c:v>0</c:v>
                </c:pt>
                <c:pt idx="247">
                  <c:v>1</c:v>
                </c:pt>
                <c:pt idx="248">
                  <c:v>0</c:v>
                </c:pt>
                <c:pt idx="249">
                  <c:v>0</c:v>
                </c:pt>
                <c:pt idx="250">
                  <c:v>2</c:v>
                </c:pt>
                <c:pt idx="251">
                  <c:v>0</c:v>
                </c:pt>
                <c:pt idx="252">
                  <c:v>0</c:v>
                </c:pt>
                <c:pt idx="253">
                  <c:v>0</c:v>
                </c:pt>
                <c:pt idx="254">
                  <c:v>0</c:v>
                </c:pt>
                <c:pt idx="255">
                  <c:v>2</c:v>
                </c:pt>
                <c:pt idx="256">
                  <c:v>0</c:v>
                </c:pt>
                <c:pt idx="257">
                  <c:v>0</c:v>
                </c:pt>
                <c:pt idx="258">
                  <c:v>1</c:v>
                </c:pt>
                <c:pt idx="259">
                  <c:v>0</c:v>
                </c:pt>
                <c:pt idx="260">
                  <c:v>1</c:v>
                </c:pt>
                <c:pt idx="261">
                  <c:v>0</c:v>
                </c:pt>
                <c:pt idx="262">
                  <c:v>0</c:v>
                </c:pt>
                <c:pt idx="263">
                  <c:v>0</c:v>
                </c:pt>
                <c:pt idx="264">
                  <c:v>0</c:v>
                </c:pt>
                <c:pt idx="265">
                  <c:v>0</c:v>
                </c:pt>
                <c:pt idx="266">
                  <c:v>1</c:v>
                </c:pt>
                <c:pt idx="267">
                  <c:v>0</c:v>
                </c:pt>
                <c:pt idx="268">
                  <c:v>0</c:v>
                </c:pt>
                <c:pt idx="269">
                  <c:v>0</c:v>
                </c:pt>
                <c:pt idx="270">
                  <c:v>0</c:v>
                </c:pt>
                <c:pt idx="271">
                  <c:v>0</c:v>
                </c:pt>
                <c:pt idx="272">
                  <c:v>0</c:v>
                </c:pt>
                <c:pt idx="273">
                  <c:v>0</c:v>
                </c:pt>
                <c:pt idx="274">
                  <c:v>3</c:v>
                </c:pt>
                <c:pt idx="275">
                  <c:v>0</c:v>
                </c:pt>
                <c:pt idx="276">
                  <c:v>0</c:v>
                </c:pt>
                <c:pt idx="277">
                  <c:v>0</c:v>
                </c:pt>
                <c:pt idx="278">
                  <c:v>0</c:v>
                </c:pt>
                <c:pt idx="279">
                  <c:v>0</c:v>
                </c:pt>
                <c:pt idx="280">
                  <c:v>0</c:v>
                </c:pt>
                <c:pt idx="281">
                  <c:v>0</c:v>
                </c:pt>
                <c:pt idx="282">
                  <c:v>0</c:v>
                </c:pt>
                <c:pt idx="283">
                  <c:v>1</c:v>
                </c:pt>
                <c:pt idx="284">
                  <c:v>0</c:v>
                </c:pt>
                <c:pt idx="285">
                  <c:v>1</c:v>
                </c:pt>
                <c:pt idx="286">
                  <c:v>0</c:v>
                </c:pt>
                <c:pt idx="287">
                  <c:v>0</c:v>
                </c:pt>
                <c:pt idx="288">
                  <c:v>0</c:v>
                </c:pt>
                <c:pt idx="289">
                  <c:v>0</c:v>
                </c:pt>
                <c:pt idx="290">
                  <c:v>0</c:v>
                </c:pt>
                <c:pt idx="291">
                  <c:v>0</c:v>
                </c:pt>
                <c:pt idx="292">
                  <c:v>0</c:v>
                </c:pt>
                <c:pt idx="293">
                  <c:v>0</c:v>
                </c:pt>
                <c:pt idx="294">
                  <c:v>0</c:v>
                </c:pt>
                <c:pt idx="295">
                  <c:v>1</c:v>
                </c:pt>
                <c:pt idx="296">
                  <c:v>1</c:v>
                </c:pt>
                <c:pt idx="297">
                  <c:v>0</c:v>
                </c:pt>
                <c:pt idx="298">
                  <c:v>0</c:v>
                </c:pt>
                <c:pt idx="299">
                  <c:v>0</c:v>
                </c:pt>
                <c:pt idx="300">
                  <c:v>0</c:v>
                </c:pt>
                <c:pt idx="301">
                  <c:v>0</c:v>
                </c:pt>
                <c:pt idx="302">
                  <c:v>0</c:v>
                </c:pt>
                <c:pt idx="303">
                  <c:v>1</c:v>
                </c:pt>
                <c:pt idx="304">
                  <c:v>0</c:v>
                </c:pt>
                <c:pt idx="305">
                  <c:v>0</c:v>
                </c:pt>
                <c:pt idx="306">
                  <c:v>0</c:v>
                </c:pt>
                <c:pt idx="307">
                  <c:v>0</c:v>
                </c:pt>
                <c:pt idx="308">
                  <c:v>0</c:v>
                </c:pt>
                <c:pt idx="309">
                  <c:v>0</c:v>
                </c:pt>
                <c:pt idx="310">
                  <c:v>0</c:v>
                </c:pt>
                <c:pt idx="311">
                  <c:v>0</c:v>
                </c:pt>
                <c:pt idx="312">
                  <c:v>0</c:v>
                </c:pt>
                <c:pt idx="313">
                  <c:v>0</c:v>
                </c:pt>
                <c:pt idx="314">
                  <c:v>0</c:v>
                </c:pt>
                <c:pt idx="315">
                  <c:v>0</c:v>
                </c:pt>
                <c:pt idx="316">
                  <c:v>0</c:v>
                </c:pt>
                <c:pt idx="317">
                  <c:v>0</c:v>
                </c:pt>
                <c:pt idx="318">
                  <c:v>0</c:v>
                </c:pt>
                <c:pt idx="319">
                  <c:v>0</c:v>
                </c:pt>
                <c:pt idx="320">
                  <c:v>0</c:v>
                </c:pt>
                <c:pt idx="321">
                  <c:v>0</c:v>
                </c:pt>
                <c:pt idx="322">
                  <c:v>0</c:v>
                </c:pt>
                <c:pt idx="323">
                  <c:v>0</c:v>
                </c:pt>
                <c:pt idx="324">
                  <c:v>0</c:v>
                </c:pt>
                <c:pt idx="325">
                  <c:v>0</c:v>
                </c:pt>
                <c:pt idx="326">
                  <c:v>1</c:v>
                </c:pt>
                <c:pt idx="327">
                  <c:v>0</c:v>
                </c:pt>
                <c:pt idx="328">
                  <c:v>0</c:v>
                </c:pt>
                <c:pt idx="329">
                  <c:v>0</c:v>
                </c:pt>
                <c:pt idx="330">
                  <c:v>0</c:v>
                </c:pt>
                <c:pt idx="331">
                  <c:v>0</c:v>
                </c:pt>
                <c:pt idx="332">
                  <c:v>0</c:v>
                </c:pt>
                <c:pt idx="333">
                  <c:v>0</c:v>
                </c:pt>
                <c:pt idx="334">
                  <c:v>0</c:v>
                </c:pt>
                <c:pt idx="335">
                  <c:v>0</c:v>
                </c:pt>
                <c:pt idx="336">
                  <c:v>0</c:v>
                </c:pt>
                <c:pt idx="337">
                  <c:v>0</c:v>
                </c:pt>
                <c:pt idx="338">
                  <c:v>0</c:v>
                </c:pt>
                <c:pt idx="339">
                  <c:v>0</c:v>
                </c:pt>
                <c:pt idx="340">
                  <c:v>0</c:v>
                </c:pt>
                <c:pt idx="341">
                  <c:v>0</c:v>
                </c:pt>
                <c:pt idx="342">
                  <c:v>0</c:v>
                </c:pt>
                <c:pt idx="343">
                  <c:v>0</c:v>
                </c:pt>
                <c:pt idx="344">
                  <c:v>0</c:v>
                </c:pt>
                <c:pt idx="345">
                  <c:v>0</c:v>
                </c:pt>
                <c:pt idx="346">
                  <c:v>0</c:v>
                </c:pt>
                <c:pt idx="347">
                  <c:v>0</c:v>
                </c:pt>
                <c:pt idx="348">
                  <c:v>0</c:v>
                </c:pt>
                <c:pt idx="349">
                  <c:v>0</c:v>
                </c:pt>
                <c:pt idx="350">
                  <c:v>0</c:v>
                </c:pt>
                <c:pt idx="351">
                  <c:v>0</c:v>
                </c:pt>
                <c:pt idx="352">
                  <c:v>1</c:v>
                </c:pt>
                <c:pt idx="353">
                  <c:v>0</c:v>
                </c:pt>
                <c:pt idx="354">
                  <c:v>0</c:v>
                </c:pt>
                <c:pt idx="355">
                  <c:v>0</c:v>
                </c:pt>
                <c:pt idx="356">
                  <c:v>0</c:v>
                </c:pt>
                <c:pt idx="357">
                  <c:v>1</c:v>
                </c:pt>
                <c:pt idx="358">
                  <c:v>0</c:v>
                </c:pt>
                <c:pt idx="359">
                  <c:v>0</c:v>
                </c:pt>
                <c:pt idx="360">
                  <c:v>0</c:v>
                </c:pt>
                <c:pt idx="361">
                  <c:v>0</c:v>
                </c:pt>
                <c:pt idx="362">
                  <c:v>0</c:v>
                </c:pt>
                <c:pt idx="363">
                  <c:v>0</c:v>
                </c:pt>
                <c:pt idx="364">
                  <c:v>0</c:v>
                </c:pt>
                <c:pt idx="365">
                  <c:v>0</c:v>
                </c:pt>
                <c:pt idx="366">
                  <c:v>0</c:v>
                </c:pt>
                <c:pt idx="367">
                  <c:v>0</c:v>
                </c:pt>
                <c:pt idx="368">
                  <c:v>1</c:v>
                </c:pt>
                <c:pt idx="369">
                  <c:v>0</c:v>
                </c:pt>
                <c:pt idx="370">
                  <c:v>0</c:v>
                </c:pt>
                <c:pt idx="371">
                  <c:v>0</c:v>
                </c:pt>
                <c:pt idx="372">
                  <c:v>1</c:v>
                </c:pt>
                <c:pt idx="373">
                  <c:v>0</c:v>
                </c:pt>
                <c:pt idx="374">
                  <c:v>0</c:v>
                </c:pt>
                <c:pt idx="375">
                  <c:v>0</c:v>
                </c:pt>
                <c:pt idx="376">
                  <c:v>0</c:v>
                </c:pt>
                <c:pt idx="377">
                  <c:v>0</c:v>
                </c:pt>
                <c:pt idx="378">
                  <c:v>0</c:v>
                </c:pt>
                <c:pt idx="379">
                  <c:v>0</c:v>
                </c:pt>
                <c:pt idx="380">
                  <c:v>0</c:v>
                </c:pt>
                <c:pt idx="381">
                  <c:v>0</c:v>
                </c:pt>
                <c:pt idx="382">
                  <c:v>0</c:v>
                </c:pt>
                <c:pt idx="383">
                  <c:v>0</c:v>
                </c:pt>
                <c:pt idx="384">
                  <c:v>1</c:v>
                </c:pt>
                <c:pt idx="385">
                  <c:v>0</c:v>
                </c:pt>
                <c:pt idx="386">
                  <c:v>0</c:v>
                </c:pt>
                <c:pt idx="387">
                  <c:v>0</c:v>
                </c:pt>
                <c:pt idx="388">
                  <c:v>0</c:v>
                </c:pt>
                <c:pt idx="389">
                  <c:v>0</c:v>
                </c:pt>
                <c:pt idx="390">
                  <c:v>0</c:v>
                </c:pt>
                <c:pt idx="391">
                  <c:v>0</c:v>
                </c:pt>
                <c:pt idx="392">
                  <c:v>0</c:v>
                </c:pt>
                <c:pt idx="393">
                  <c:v>0</c:v>
                </c:pt>
                <c:pt idx="394">
                  <c:v>0</c:v>
                </c:pt>
                <c:pt idx="395">
                  <c:v>0</c:v>
                </c:pt>
                <c:pt idx="396">
                  <c:v>0</c:v>
                </c:pt>
                <c:pt idx="397">
                  <c:v>0</c:v>
                </c:pt>
                <c:pt idx="398">
                  <c:v>0</c:v>
                </c:pt>
                <c:pt idx="399">
                  <c:v>0</c:v>
                </c:pt>
                <c:pt idx="400">
                  <c:v>2</c:v>
                </c:pt>
                <c:pt idx="401">
                  <c:v>0</c:v>
                </c:pt>
                <c:pt idx="402">
                  <c:v>0</c:v>
                </c:pt>
                <c:pt idx="403">
                  <c:v>0</c:v>
                </c:pt>
                <c:pt idx="404">
                  <c:v>0</c:v>
                </c:pt>
                <c:pt idx="405">
                  <c:v>0</c:v>
                </c:pt>
                <c:pt idx="406">
                  <c:v>0</c:v>
                </c:pt>
                <c:pt idx="407">
                  <c:v>0</c:v>
                </c:pt>
                <c:pt idx="408">
                  <c:v>1</c:v>
                </c:pt>
                <c:pt idx="409">
                  <c:v>0</c:v>
                </c:pt>
                <c:pt idx="410">
                  <c:v>0</c:v>
                </c:pt>
                <c:pt idx="411">
                  <c:v>2</c:v>
                </c:pt>
                <c:pt idx="412">
                  <c:v>2</c:v>
                </c:pt>
                <c:pt idx="413">
                  <c:v>0</c:v>
                </c:pt>
                <c:pt idx="414">
                  <c:v>0</c:v>
                </c:pt>
                <c:pt idx="415">
                  <c:v>1</c:v>
                </c:pt>
                <c:pt idx="416">
                  <c:v>0</c:v>
                </c:pt>
                <c:pt idx="417">
                  <c:v>0</c:v>
                </c:pt>
                <c:pt idx="418">
                  <c:v>1</c:v>
                </c:pt>
                <c:pt idx="419">
                  <c:v>0</c:v>
                </c:pt>
                <c:pt idx="420">
                  <c:v>0</c:v>
                </c:pt>
                <c:pt idx="421">
                  <c:v>0</c:v>
                </c:pt>
                <c:pt idx="422">
                  <c:v>0</c:v>
                </c:pt>
                <c:pt idx="423">
                  <c:v>3</c:v>
                </c:pt>
                <c:pt idx="424">
                  <c:v>1</c:v>
                </c:pt>
                <c:pt idx="425">
                  <c:v>0</c:v>
                </c:pt>
                <c:pt idx="426">
                  <c:v>1</c:v>
                </c:pt>
                <c:pt idx="427">
                  <c:v>2</c:v>
                </c:pt>
                <c:pt idx="428">
                  <c:v>0</c:v>
                </c:pt>
                <c:pt idx="429">
                  <c:v>2</c:v>
                </c:pt>
                <c:pt idx="430">
                  <c:v>7</c:v>
                </c:pt>
                <c:pt idx="431">
                  <c:v>5</c:v>
                </c:pt>
                <c:pt idx="432">
                  <c:v>3</c:v>
                </c:pt>
                <c:pt idx="433">
                  <c:v>5</c:v>
                </c:pt>
                <c:pt idx="434">
                  <c:v>4</c:v>
                </c:pt>
                <c:pt idx="435">
                  <c:v>2</c:v>
                </c:pt>
                <c:pt idx="436">
                  <c:v>3</c:v>
                </c:pt>
                <c:pt idx="437">
                  <c:v>3</c:v>
                </c:pt>
                <c:pt idx="438">
                  <c:v>4</c:v>
                </c:pt>
                <c:pt idx="439">
                  <c:v>5</c:v>
                </c:pt>
                <c:pt idx="440">
                  <c:v>4</c:v>
                </c:pt>
                <c:pt idx="441">
                  <c:v>1</c:v>
                </c:pt>
                <c:pt idx="442">
                  <c:v>1</c:v>
                </c:pt>
                <c:pt idx="443">
                  <c:v>3</c:v>
                </c:pt>
                <c:pt idx="444">
                  <c:v>4</c:v>
                </c:pt>
                <c:pt idx="445">
                  <c:v>4</c:v>
                </c:pt>
                <c:pt idx="446">
                  <c:v>3</c:v>
                </c:pt>
                <c:pt idx="447">
                  <c:v>3</c:v>
                </c:pt>
                <c:pt idx="448">
                  <c:v>6</c:v>
                </c:pt>
                <c:pt idx="449">
                  <c:v>3</c:v>
                </c:pt>
                <c:pt idx="450">
                  <c:v>3</c:v>
                </c:pt>
                <c:pt idx="451">
                  <c:v>12</c:v>
                </c:pt>
                <c:pt idx="452">
                  <c:v>4</c:v>
                </c:pt>
                <c:pt idx="453">
                  <c:v>5</c:v>
                </c:pt>
                <c:pt idx="454">
                  <c:v>4</c:v>
                </c:pt>
                <c:pt idx="455">
                  <c:v>6</c:v>
                </c:pt>
                <c:pt idx="456">
                  <c:v>5</c:v>
                </c:pt>
                <c:pt idx="457">
                  <c:v>0</c:v>
                </c:pt>
                <c:pt idx="458">
                  <c:v>0</c:v>
                </c:pt>
                <c:pt idx="459">
                  <c:v>1</c:v>
                </c:pt>
                <c:pt idx="460">
                  <c:v>5</c:v>
                </c:pt>
                <c:pt idx="461">
                  <c:v>4</c:v>
                </c:pt>
                <c:pt idx="462">
                  <c:v>3</c:v>
                </c:pt>
                <c:pt idx="463">
                  <c:v>5</c:v>
                </c:pt>
                <c:pt idx="464">
                  <c:v>4</c:v>
                </c:pt>
                <c:pt idx="465">
                  <c:v>2</c:v>
                </c:pt>
                <c:pt idx="466">
                  <c:v>2</c:v>
                </c:pt>
                <c:pt idx="467">
                  <c:v>2</c:v>
                </c:pt>
                <c:pt idx="468">
                  <c:v>1</c:v>
                </c:pt>
                <c:pt idx="469">
                  <c:v>3</c:v>
                </c:pt>
                <c:pt idx="470">
                  <c:v>2</c:v>
                </c:pt>
                <c:pt idx="471">
                  <c:v>5</c:v>
                </c:pt>
                <c:pt idx="472">
                  <c:v>6</c:v>
                </c:pt>
                <c:pt idx="473">
                  <c:v>1</c:v>
                </c:pt>
                <c:pt idx="474">
                  <c:v>1</c:v>
                </c:pt>
                <c:pt idx="475">
                  <c:v>5</c:v>
                </c:pt>
                <c:pt idx="476">
                  <c:v>0</c:v>
                </c:pt>
                <c:pt idx="477">
                  <c:v>0</c:v>
                </c:pt>
                <c:pt idx="478">
                  <c:v>1</c:v>
                </c:pt>
                <c:pt idx="479">
                  <c:v>1</c:v>
                </c:pt>
                <c:pt idx="480">
                  <c:v>4</c:v>
                </c:pt>
                <c:pt idx="481">
                  <c:v>1</c:v>
                </c:pt>
                <c:pt idx="482">
                  <c:v>0</c:v>
                </c:pt>
                <c:pt idx="483">
                  <c:v>1</c:v>
                </c:pt>
                <c:pt idx="484">
                  <c:v>1</c:v>
                </c:pt>
                <c:pt idx="485">
                  <c:v>4</c:v>
                </c:pt>
                <c:pt idx="486">
                  <c:v>0</c:v>
                </c:pt>
                <c:pt idx="487">
                  <c:v>1</c:v>
                </c:pt>
                <c:pt idx="488" formatCode="General">
                  <c:v>0</c:v>
                </c:pt>
                <c:pt idx="489" formatCode="General">
                  <c:v>0</c:v>
                </c:pt>
                <c:pt idx="490" formatCode="General">
                  <c:v>3</c:v>
                </c:pt>
                <c:pt idx="491" formatCode="General">
                  <c:v>0</c:v>
                </c:pt>
                <c:pt idx="492" formatCode="General">
                  <c:v>3</c:v>
                </c:pt>
                <c:pt idx="493" formatCode="General">
                  <c:v>1</c:v>
                </c:pt>
                <c:pt idx="494" formatCode="General">
                  <c:v>0</c:v>
                </c:pt>
                <c:pt idx="495" formatCode="General">
                  <c:v>1</c:v>
                </c:pt>
                <c:pt idx="496" formatCode="General">
                  <c:v>0</c:v>
                </c:pt>
                <c:pt idx="497" formatCode="General">
                  <c:v>1</c:v>
                </c:pt>
                <c:pt idx="498" formatCode="General">
                  <c:v>1</c:v>
                </c:pt>
                <c:pt idx="499" formatCode="General">
                  <c:v>0</c:v>
                </c:pt>
                <c:pt idx="500" formatCode="General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B3E-4315-A7FA-F141290FE6A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-27"/>
        <c:axId val="529925759"/>
        <c:axId val="533925071"/>
      </c:barChart>
      <c:dateAx>
        <c:axId val="529925759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33925071"/>
        <c:crosses val="autoZero"/>
        <c:auto val="1"/>
        <c:lblOffset val="100"/>
        <c:baseTimeUnit val="days"/>
      </c:dateAx>
      <c:valAx>
        <c:axId val="533925071"/>
        <c:scaling>
          <c:orientation val="minMax"/>
        </c:scaling>
        <c:delete val="0"/>
        <c:axPos val="l"/>
        <c:numFmt formatCode="#\ ##0_ ;\-#\ ##0\ 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2992575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9151905390317288E-2"/>
          <c:y val="3.5493880780117011E-2"/>
          <c:w val="0.9259736925366634"/>
          <c:h val="0.8049114122983089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loupec2</c:v>
                </c:pt>
              </c:strCache>
            </c:strRef>
          </c:tx>
          <c:spPr>
            <a:solidFill>
              <a:schemeClr val="accent4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7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trendline>
            <c:spPr>
              <a:ln w="19050" cap="rnd">
                <a:solidFill>
                  <a:schemeClr val="tx1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Sheet1!$A$2:$A$410</c:f>
              <c:numCache>
                <c:formatCode>m/d/yyyy</c:formatCode>
                <c:ptCount val="409"/>
                <c:pt idx="1">
                  <c:v>44075</c:v>
                </c:pt>
                <c:pt idx="2">
                  <c:v>44078</c:v>
                </c:pt>
                <c:pt idx="3">
                  <c:v>44082</c:v>
                </c:pt>
                <c:pt idx="4">
                  <c:v>44083</c:v>
                </c:pt>
                <c:pt idx="5">
                  <c:v>44084</c:v>
                </c:pt>
                <c:pt idx="6">
                  <c:v>44085</c:v>
                </c:pt>
                <c:pt idx="7">
                  <c:v>44086</c:v>
                </c:pt>
                <c:pt idx="8">
                  <c:v>44087</c:v>
                </c:pt>
                <c:pt idx="9">
                  <c:v>44088</c:v>
                </c:pt>
                <c:pt idx="10">
                  <c:v>44089</c:v>
                </c:pt>
                <c:pt idx="11">
                  <c:v>44090</c:v>
                </c:pt>
                <c:pt idx="12">
                  <c:v>44091</c:v>
                </c:pt>
                <c:pt idx="13">
                  <c:v>44092</c:v>
                </c:pt>
                <c:pt idx="14">
                  <c:v>44093</c:v>
                </c:pt>
                <c:pt idx="15">
                  <c:v>44094</c:v>
                </c:pt>
                <c:pt idx="16">
                  <c:v>44095</c:v>
                </c:pt>
                <c:pt idx="17">
                  <c:v>44096</c:v>
                </c:pt>
                <c:pt idx="18">
                  <c:v>44097</c:v>
                </c:pt>
                <c:pt idx="19">
                  <c:v>44098</c:v>
                </c:pt>
                <c:pt idx="20">
                  <c:v>44099</c:v>
                </c:pt>
                <c:pt idx="21">
                  <c:v>44100</c:v>
                </c:pt>
                <c:pt idx="22">
                  <c:v>44101</c:v>
                </c:pt>
                <c:pt idx="23">
                  <c:v>44102</c:v>
                </c:pt>
                <c:pt idx="24">
                  <c:v>44103</c:v>
                </c:pt>
                <c:pt idx="25">
                  <c:v>44104</c:v>
                </c:pt>
                <c:pt idx="26">
                  <c:v>44105</c:v>
                </c:pt>
                <c:pt idx="27">
                  <c:v>44106</c:v>
                </c:pt>
                <c:pt idx="28">
                  <c:v>44107</c:v>
                </c:pt>
                <c:pt idx="29">
                  <c:v>44108</c:v>
                </c:pt>
                <c:pt idx="30">
                  <c:v>44109</c:v>
                </c:pt>
                <c:pt idx="31">
                  <c:v>44110</c:v>
                </c:pt>
                <c:pt idx="32">
                  <c:v>44111</c:v>
                </c:pt>
                <c:pt idx="33">
                  <c:v>44112</c:v>
                </c:pt>
                <c:pt idx="34">
                  <c:v>44113</c:v>
                </c:pt>
                <c:pt idx="35">
                  <c:v>44114</c:v>
                </c:pt>
                <c:pt idx="36">
                  <c:v>44115</c:v>
                </c:pt>
                <c:pt idx="37">
                  <c:v>44116</c:v>
                </c:pt>
                <c:pt idx="38">
                  <c:v>44117</c:v>
                </c:pt>
                <c:pt idx="39">
                  <c:v>44118</c:v>
                </c:pt>
                <c:pt idx="40">
                  <c:v>44119</c:v>
                </c:pt>
                <c:pt idx="41">
                  <c:v>44120</c:v>
                </c:pt>
                <c:pt idx="42">
                  <c:v>44121</c:v>
                </c:pt>
                <c:pt idx="43">
                  <c:v>44122</c:v>
                </c:pt>
                <c:pt idx="44">
                  <c:v>44123</c:v>
                </c:pt>
                <c:pt idx="45">
                  <c:v>44124</c:v>
                </c:pt>
                <c:pt idx="46">
                  <c:v>44125</c:v>
                </c:pt>
                <c:pt idx="47">
                  <c:v>44126</c:v>
                </c:pt>
                <c:pt idx="48">
                  <c:v>44127</c:v>
                </c:pt>
                <c:pt idx="49">
                  <c:v>44128</c:v>
                </c:pt>
                <c:pt idx="50">
                  <c:v>44129</c:v>
                </c:pt>
                <c:pt idx="51">
                  <c:v>44130</c:v>
                </c:pt>
                <c:pt idx="52">
                  <c:v>44131</c:v>
                </c:pt>
                <c:pt idx="53">
                  <c:v>44132</c:v>
                </c:pt>
                <c:pt idx="54">
                  <c:v>44133</c:v>
                </c:pt>
                <c:pt idx="55">
                  <c:v>44134</c:v>
                </c:pt>
                <c:pt idx="56">
                  <c:v>44135</c:v>
                </c:pt>
                <c:pt idx="57">
                  <c:v>44136</c:v>
                </c:pt>
                <c:pt idx="58">
                  <c:v>44137</c:v>
                </c:pt>
                <c:pt idx="59">
                  <c:v>44138</c:v>
                </c:pt>
                <c:pt idx="60">
                  <c:v>44139</c:v>
                </c:pt>
                <c:pt idx="61">
                  <c:v>44140</c:v>
                </c:pt>
                <c:pt idx="62">
                  <c:v>44141</c:v>
                </c:pt>
                <c:pt idx="63">
                  <c:v>44142</c:v>
                </c:pt>
                <c:pt idx="64">
                  <c:v>44143</c:v>
                </c:pt>
                <c:pt idx="65">
                  <c:v>44144</c:v>
                </c:pt>
                <c:pt idx="66">
                  <c:v>44145</c:v>
                </c:pt>
                <c:pt idx="67">
                  <c:v>44146</c:v>
                </c:pt>
                <c:pt idx="68">
                  <c:v>44147</c:v>
                </c:pt>
                <c:pt idx="69">
                  <c:v>44148</c:v>
                </c:pt>
                <c:pt idx="70">
                  <c:v>44149</c:v>
                </c:pt>
                <c:pt idx="71">
                  <c:v>44150</c:v>
                </c:pt>
                <c:pt idx="72">
                  <c:v>44151</c:v>
                </c:pt>
                <c:pt idx="73">
                  <c:v>44152</c:v>
                </c:pt>
                <c:pt idx="74">
                  <c:v>44153</c:v>
                </c:pt>
                <c:pt idx="75">
                  <c:v>44154</c:v>
                </c:pt>
                <c:pt idx="76">
                  <c:v>44155</c:v>
                </c:pt>
                <c:pt idx="77">
                  <c:v>44156</c:v>
                </c:pt>
                <c:pt idx="78">
                  <c:v>44157</c:v>
                </c:pt>
                <c:pt idx="79">
                  <c:v>44158</c:v>
                </c:pt>
                <c:pt idx="80">
                  <c:v>44159</c:v>
                </c:pt>
                <c:pt idx="81">
                  <c:v>44160</c:v>
                </c:pt>
                <c:pt idx="82">
                  <c:v>44161</c:v>
                </c:pt>
                <c:pt idx="83">
                  <c:v>44162</c:v>
                </c:pt>
                <c:pt idx="84">
                  <c:v>44163</c:v>
                </c:pt>
                <c:pt idx="85">
                  <c:v>44164</c:v>
                </c:pt>
                <c:pt idx="86">
                  <c:v>44165</c:v>
                </c:pt>
                <c:pt idx="87">
                  <c:v>44166</c:v>
                </c:pt>
                <c:pt idx="88">
                  <c:v>44167</c:v>
                </c:pt>
                <c:pt idx="89">
                  <c:v>44168</c:v>
                </c:pt>
                <c:pt idx="90">
                  <c:v>44169</c:v>
                </c:pt>
                <c:pt idx="91">
                  <c:v>44170</c:v>
                </c:pt>
                <c:pt idx="92">
                  <c:v>44171</c:v>
                </c:pt>
                <c:pt idx="93">
                  <c:v>44172</c:v>
                </c:pt>
                <c:pt idx="94">
                  <c:v>44173</c:v>
                </c:pt>
                <c:pt idx="95">
                  <c:v>44174</c:v>
                </c:pt>
                <c:pt idx="96">
                  <c:v>44175</c:v>
                </c:pt>
                <c:pt idx="97">
                  <c:v>44176</c:v>
                </c:pt>
                <c:pt idx="98">
                  <c:v>44177</c:v>
                </c:pt>
                <c:pt idx="99">
                  <c:v>44178</c:v>
                </c:pt>
                <c:pt idx="100">
                  <c:v>44179</c:v>
                </c:pt>
                <c:pt idx="101">
                  <c:v>44180</c:v>
                </c:pt>
                <c:pt idx="102">
                  <c:v>44181</c:v>
                </c:pt>
                <c:pt idx="103">
                  <c:v>44182</c:v>
                </c:pt>
                <c:pt idx="104">
                  <c:v>44183</c:v>
                </c:pt>
                <c:pt idx="105">
                  <c:v>44184</c:v>
                </c:pt>
                <c:pt idx="106">
                  <c:v>44185</c:v>
                </c:pt>
                <c:pt idx="107">
                  <c:v>44186</c:v>
                </c:pt>
                <c:pt idx="108">
                  <c:v>44187</c:v>
                </c:pt>
                <c:pt idx="109">
                  <c:v>44188</c:v>
                </c:pt>
                <c:pt idx="110">
                  <c:v>44189</c:v>
                </c:pt>
                <c:pt idx="111">
                  <c:v>44190</c:v>
                </c:pt>
                <c:pt idx="112">
                  <c:v>44191</c:v>
                </c:pt>
                <c:pt idx="113">
                  <c:v>44192</c:v>
                </c:pt>
                <c:pt idx="114">
                  <c:v>44193</c:v>
                </c:pt>
                <c:pt idx="115">
                  <c:v>44194</c:v>
                </c:pt>
                <c:pt idx="116">
                  <c:v>44195</c:v>
                </c:pt>
                <c:pt idx="117">
                  <c:v>44196</c:v>
                </c:pt>
                <c:pt idx="118">
                  <c:v>44197</c:v>
                </c:pt>
                <c:pt idx="119">
                  <c:v>44198</c:v>
                </c:pt>
                <c:pt idx="120">
                  <c:v>44199</c:v>
                </c:pt>
                <c:pt idx="121">
                  <c:v>44200</c:v>
                </c:pt>
                <c:pt idx="122">
                  <c:v>44201</c:v>
                </c:pt>
                <c:pt idx="123">
                  <c:v>44202</c:v>
                </c:pt>
                <c:pt idx="124">
                  <c:v>44203</c:v>
                </c:pt>
                <c:pt idx="125">
                  <c:v>44204</c:v>
                </c:pt>
                <c:pt idx="126">
                  <c:v>44205</c:v>
                </c:pt>
                <c:pt idx="127">
                  <c:v>44206</c:v>
                </c:pt>
                <c:pt idx="128">
                  <c:v>44207</c:v>
                </c:pt>
                <c:pt idx="129">
                  <c:v>44208</c:v>
                </c:pt>
                <c:pt idx="130">
                  <c:v>44209</c:v>
                </c:pt>
                <c:pt idx="131">
                  <c:v>44210</c:v>
                </c:pt>
                <c:pt idx="132">
                  <c:v>44211</c:v>
                </c:pt>
                <c:pt idx="133">
                  <c:v>44212</c:v>
                </c:pt>
                <c:pt idx="134">
                  <c:v>44213</c:v>
                </c:pt>
                <c:pt idx="135">
                  <c:v>44214</c:v>
                </c:pt>
                <c:pt idx="136">
                  <c:v>44215</c:v>
                </c:pt>
                <c:pt idx="137">
                  <c:v>44216</c:v>
                </c:pt>
                <c:pt idx="138">
                  <c:v>44217</c:v>
                </c:pt>
                <c:pt idx="139">
                  <c:v>44218</c:v>
                </c:pt>
                <c:pt idx="140">
                  <c:v>44219</c:v>
                </c:pt>
                <c:pt idx="141">
                  <c:v>44220</c:v>
                </c:pt>
                <c:pt idx="142">
                  <c:v>44221</c:v>
                </c:pt>
                <c:pt idx="143">
                  <c:v>44222</c:v>
                </c:pt>
                <c:pt idx="144">
                  <c:v>44223</c:v>
                </c:pt>
                <c:pt idx="145">
                  <c:v>44224</c:v>
                </c:pt>
                <c:pt idx="146">
                  <c:v>44225</c:v>
                </c:pt>
                <c:pt idx="147">
                  <c:v>44226</c:v>
                </c:pt>
                <c:pt idx="148">
                  <c:v>44227</c:v>
                </c:pt>
                <c:pt idx="149">
                  <c:v>44228</c:v>
                </c:pt>
                <c:pt idx="150">
                  <c:v>44229</c:v>
                </c:pt>
                <c:pt idx="151">
                  <c:v>44230</c:v>
                </c:pt>
                <c:pt idx="152">
                  <c:v>44231</c:v>
                </c:pt>
                <c:pt idx="153">
                  <c:v>44232</c:v>
                </c:pt>
                <c:pt idx="154">
                  <c:v>44233</c:v>
                </c:pt>
                <c:pt idx="155">
                  <c:v>44234</c:v>
                </c:pt>
                <c:pt idx="156">
                  <c:v>44235</c:v>
                </c:pt>
                <c:pt idx="157">
                  <c:v>44236</c:v>
                </c:pt>
                <c:pt idx="158">
                  <c:v>44237</c:v>
                </c:pt>
                <c:pt idx="159">
                  <c:v>44238</c:v>
                </c:pt>
                <c:pt idx="160">
                  <c:v>44239</c:v>
                </c:pt>
                <c:pt idx="161">
                  <c:v>44240</c:v>
                </c:pt>
                <c:pt idx="162">
                  <c:v>44241</c:v>
                </c:pt>
                <c:pt idx="163">
                  <c:v>44242</c:v>
                </c:pt>
                <c:pt idx="164">
                  <c:v>44243</c:v>
                </c:pt>
                <c:pt idx="165">
                  <c:v>44244</c:v>
                </c:pt>
                <c:pt idx="166">
                  <c:v>44245</c:v>
                </c:pt>
                <c:pt idx="167">
                  <c:v>44246</c:v>
                </c:pt>
                <c:pt idx="168">
                  <c:v>44247</c:v>
                </c:pt>
                <c:pt idx="169">
                  <c:v>44248</c:v>
                </c:pt>
                <c:pt idx="170">
                  <c:v>44249</c:v>
                </c:pt>
                <c:pt idx="171">
                  <c:v>44250</c:v>
                </c:pt>
                <c:pt idx="172">
                  <c:v>44251</c:v>
                </c:pt>
                <c:pt idx="173">
                  <c:v>44252</c:v>
                </c:pt>
                <c:pt idx="174">
                  <c:v>44253</c:v>
                </c:pt>
                <c:pt idx="175">
                  <c:v>44254</c:v>
                </c:pt>
                <c:pt idx="176">
                  <c:v>44255</c:v>
                </c:pt>
                <c:pt idx="177">
                  <c:v>44256</c:v>
                </c:pt>
                <c:pt idx="178">
                  <c:v>44257</c:v>
                </c:pt>
                <c:pt idx="179">
                  <c:v>44258</c:v>
                </c:pt>
                <c:pt idx="180">
                  <c:v>44259</c:v>
                </c:pt>
                <c:pt idx="181">
                  <c:v>44260</c:v>
                </c:pt>
                <c:pt idx="182">
                  <c:v>44261</c:v>
                </c:pt>
                <c:pt idx="183">
                  <c:v>44262</c:v>
                </c:pt>
                <c:pt idx="184">
                  <c:v>44263</c:v>
                </c:pt>
                <c:pt idx="185">
                  <c:v>44264</c:v>
                </c:pt>
                <c:pt idx="186">
                  <c:v>44265</c:v>
                </c:pt>
                <c:pt idx="187">
                  <c:v>44266</c:v>
                </c:pt>
                <c:pt idx="188">
                  <c:v>44267</c:v>
                </c:pt>
                <c:pt idx="189">
                  <c:v>44268</c:v>
                </c:pt>
                <c:pt idx="190">
                  <c:v>44269</c:v>
                </c:pt>
                <c:pt idx="191">
                  <c:v>44270</c:v>
                </c:pt>
                <c:pt idx="192">
                  <c:v>44271</c:v>
                </c:pt>
                <c:pt idx="193">
                  <c:v>44272</c:v>
                </c:pt>
                <c:pt idx="194">
                  <c:v>44273</c:v>
                </c:pt>
                <c:pt idx="195">
                  <c:v>44274</c:v>
                </c:pt>
                <c:pt idx="196">
                  <c:v>44275</c:v>
                </c:pt>
                <c:pt idx="197">
                  <c:v>44276</c:v>
                </c:pt>
                <c:pt idx="198">
                  <c:v>44277</c:v>
                </c:pt>
                <c:pt idx="199">
                  <c:v>44278</c:v>
                </c:pt>
                <c:pt idx="200">
                  <c:v>44279</c:v>
                </c:pt>
                <c:pt idx="201">
                  <c:v>44280</c:v>
                </c:pt>
                <c:pt idx="202">
                  <c:v>44281</c:v>
                </c:pt>
                <c:pt idx="203">
                  <c:v>44282</c:v>
                </c:pt>
                <c:pt idx="204">
                  <c:v>44283</c:v>
                </c:pt>
                <c:pt idx="205">
                  <c:v>44284</c:v>
                </c:pt>
                <c:pt idx="206">
                  <c:v>44285</c:v>
                </c:pt>
                <c:pt idx="207">
                  <c:v>44286</c:v>
                </c:pt>
                <c:pt idx="208">
                  <c:v>44287</c:v>
                </c:pt>
                <c:pt idx="209">
                  <c:v>44288</c:v>
                </c:pt>
                <c:pt idx="210">
                  <c:v>44289</c:v>
                </c:pt>
                <c:pt idx="211">
                  <c:v>44290</c:v>
                </c:pt>
                <c:pt idx="212">
                  <c:v>44291</c:v>
                </c:pt>
                <c:pt idx="213">
                  <c:v>44292</c:v>
                </c:pt>
                <c:pt idx="214">
                  <c:v>44293</c:v>
                </c:pt>
                <c:pt idx="215">
                  <c:v>44294</c:v>
                </c:pt>
                <c:pt idx="216">
                  <c:v>44295</c:v>
                </c:pt>
                <c:pt idx="217">
                  <c:v>44296</c:v>
                </c:pt>
                <c:pt idx="218">
                  <c:v>44297</c:v>
                </c:pt>
                <c:pt idx="219">
                  <c:v>44298</c:v>
                </c:pt>
                <c:pt idx="220">
                  <c:v>44299</c:v>
                </c:pt>
                <c:pt idx="221">
                  <c:v>44300</c:v>
                </c:pt>
                <c:pt idx="222">
                  <c:v>44301</c:v>
                </c:pt>
                <c:pt idx="223">
                  <c:v>44302</c:v>
                </c:pt>
                <c:pt idx="224">
                  <c:v>44303</c:v>
                </c:pt>
                <c:pt idx="225">
                  <c:v>44304</c:v>
                </c:pt>
                <c:pt idx="226">
                  <c:v>44305</c:v>
                </c:pt>
                <c:pt idx="227">
                  <c:v>44306</c:v>
                </c:pt>
                <c:pt idx="228">
                  <c:v>44307</c:v>
                </c:pt>
                <c:pt idx="229">
                  <c:v>44308</c:v>
                </c:pt>
                <c:pt idx="230">
                  <c:v>44309</c:v>
                </c:pt>
                <c:pt idx="231">
                  <c:v>44310</c:v>
                </c:pt>
                <c:pt idx="232">
                  <c:v>44312</c:v>
                </c:pt>
                <c:pt idx="233">
                  <c:v>44313</c:v>
                </c:pt>
                <c:pt idx="234">
                  <c:v>44314</c:v>
                </c:pt>
                <c:pt idx="235">
                  <c:v>44315</c:v>
                </c:pt>
                <c:pt idx="236">
                  <c:v>44316</c:v>
                </c:pt>
                <c:pt idx="237">
                  <c:v>44318</c:v>
                </c:pt>
                <c:pt idx="238">
                  <c:v>44319</c:v>
                </c:pt>
                <c:pt idx="239">
                  <c:v>44320</c:v>
                </c:pt>
                <c:pt idx="240">
                  <c:v>44321</c:v>
                </c:pt>
                <c:pt idx="241">
                  <c:v>44322</c:v>
                </c:pt>
                <c:pt idx="242">
                  <c:v>44323</c:v>
                </c:pt>
                <c:pt idx="243">
                  <c:v>44324</c:v>
                </c:pt>
                <c:pt idx="244">
                  <c:v>44325</c:v>
                </c:pt>
                <c:pt idx="245">
                  <c:v>44326</c:v>
                </c:pt>
                <c:pt idx="246">
                  <c:v>44327</c:v>
                </c:pt>
                <c:pt idx="247">
                  <c:v>44329</c:v>
                </c:pt>
                <c:pt idx="248">
                  <c:v>44330</c:v>
                </c:pt>
                <c:pt idx="249">
                  <c:v>44331</c:v>
                </c:pt>
                <c:pt idx="250">
                  <c:v>44333</c:v>
                </c:pt>
                <c:pt idx="251">
                  <c:v>44334</c:v>
                </c:pt>
                <c:pt idx="252">
                  <c:v>44335</c:v>
                </c:pt>
                <c:pt idx="253">
                  <c:v>44336</c:v>
                </c:pt>
                <c:pt idx="254">
                  <c:v>44337</c:v>
                </c:pt>
                <c:pt idx="255">
                  <c:v>44340</c:v>
                </c:pt>
                <c:pt idx="256">
                  <c:v>44341</c:v>
                </c:pt>
                <c:pt idx="257">
                  <c:v>44342</c:v>
                </c:pt>
                <c:pt idx="258">
                  <c:v>44343</c:v>
                </c:pt>
                <c:pt idx="259">
                  <c:v>44349</c:v>
                </c:pt>
                <c:pt idx="260">
                  <c:v>44350</c:v>
                </c:pt>
                <c:pt idx="261">
                  <c:v>44358</c:v>
                </c:pt>
                <c:pt idx="262">
                  <c:v>44364</c:v>
                </c:pt>
                <c:pt idx="263">
                  <c:v>44370</c:v>
                </c:pt>
                <c:pt idx="264">
                  <c:v>44371</c:v>
                </c:pt>
                <c:pt idx="265">
                  <c:v>44377</c:v>
                </c:pt>
                <c:pt idx="266">
                  <c:v>44378</c:v>
                </c:pt>
                <c:pt idx="267">
                  <c:v>44381</c:v>
                </c:pt>
                <c:pt idx="268">
                  <c:v>44385</c:v>
                </c:pt>
                <c:pt idx="269">
                  <c:v>44388</c:v>
                </c:pt>
                <c:pt idx="270">
                  <c:v>44398</c:v>
                </c:pt>
                <c:pt idx="271">
                  <c:v>44401</c:v>
                </c:pt>
                <c:pt idx="272">
                  <c:v>44404</c:v>
                </c:pt>
                <c:pt idx="273">
                  <c:v>44405</c:v>
                </c:pt>
                <c:pt idx="274">
                  <c:v>44416</c:v>
                </c:pt>
                <c:pt idx="275">
                  <c:v>44419</c:v>
                </c:pt>
                <c:pt idx="276">
                  <c:v>44424</c:v>
                </c:pt>
                <c:pt idx="277">
                  <c:v>44425</c:v>
                </c:pt>
                <c:pt idx="278">
                  <c:v>44427</c:v>
                </c:pt>
                <c:pt idx="279">
                  <c:v>44431</c:v>
                </c:pt>
                <c:pt idx="280">
                  <c:v>44434</c:v>
                </c:pt>
                <c:pt idx="281">
                  <c:v>44435</c:v>
                </c:pt>
                <c:pt idx="282">
                  <c:v>44436</c:v>
                </c:pt>
                <c:pt idx="283">
                  <c:v>44440</c:v>
                </c:pt>
                <c:pt idx="284">
                  <c:v>44441</c:v>
                </c:pt>
                <c:pt idx="285">
                  <c:v>44442</c:v>
                </c:pt>
                <c:pt idx="286">
                  <c:v>44443</c:v>
                </c:pt>
                <c:pt idx="287">
                  <c:v>44445</c:v>
                </c:pt>
                <c:pt idx="288">
                  <c:v>44446</c:v>
                </c:pt>
                <c:pt idx="289">
                  <c:v>44447</c:v>
                </c:pt>
                <c:pt idx="290">
                  <c:v>44448</c:v>
                </c:pt>
                <c:pt idx="291">
                  <c:v>44451</c:v>
                </c:pt>
                <c:pt idx="292">
                  <c:v>44452</c:v>
                </c:pt>
                <c:pt idx="293">
                  <c:v>44453</c:v>
                </c:pt>
                <c:pt idx="294">
                  <c:v>44457</c:v>
                </c:pt>
                <c:pt idx="295">
                  <c:v>44459</c:v>
                </c:pt>
                <c:pt idx="296">
                  <c:v>44460</c:v>
                </c:pt>
                <c:pt idx="297">
                  <c:v>44461</c:v>
                </c:pt>
                <c:pt idx="298">
                  <c:v>44464</c:v>
                </c:pt>
                <c:pt idx="299">
                  <c:v>44465</c:v>
                </c:pt>
                <c:pt idx="300">
                  <c:v>44466</c:v>
                </c:pt>
                <c:pt idx="301">
                  <c:v>44467</c:v>
                </c:pt>
                <c:pt idx="302">
                  <c:v>44468</c:v>
                </c:pt>
                <c:pt idx="303">
                  <c:v>44469</c:v>
                </c:pt>
                <c:pt idx="304">
                  <c:v>44470</c:v>
                </c:pt>
                <c:pt idx="305">
                  <c:v>44471</c:v>
                </c:pt>
                <c:pt idx="306">
                  <c:v>44472</c:v>
                </c:pt>
                <c:pt idx="307">
                  <c:v>44473</c:v>
                </c:pt>
                <c:pt idx="308">
                  <c:v>44474</c:v>
                </c:pt>
                <c:pt idx="309">
                  <c:v>44475</c:v>
                </c:pt>
                <c:pt idx="310">
                  <c:v>44476</c:v>
                </c:pt>
                <c:pt idx="311">
                  <c:v>44477</c:v>
                </c:pt>
                <c:pt idx="312">
                  <c:v>44478</c:v>
                </c:pt>
                <c:pt idx="313">
                  <c:v>44480</c:v>
                </c:pt>
                <c:pt idx="314">
                  <c:v>44481</c:v>
                </c:pt>
                <c:pt idx="315">
                  <c:v>44482</c:v>
                </c:pt>
                <c:pt idx="316">
                  <c:v>44483</c:v>
                </c:pt>
                <c:pt idx="317">
                  <c:v>44484</c:v>
                </c:pt>
                <c:pt idx="318">
                  <c:v>44485</c:v>
                </c:pt>
                <c:pt idx="319">
                  <c:v>44486</c:v>
                </c:pt>
                <c:pt idx="320">
                  <c:v>44487</c:v>
                </c:pt>
                <c:pt idx="321">
                  <c:v>44488</c:v>
                </c:pt>
                <c:pt idx="322">
                  <c:v>44489</c:v>
                </c:pt>
                <c:pt idx="323">
                  <c:v>44490</c:v>
                </c:pt>
                <c:pt idx="324">
                  <c:v>44491</c:v>
                </c:pt>
                <c:pt idx="325">
                  <c:v>44492</c:v>
                </c:pt>
                <c:pt idx="326">
                  <c:v>44493</c:v>
                </c:pt>
                <c:pt idx="327">
                  <c:v>44494</c:v>
                </c:pt>
                <c:pt idx="328">
                  <c:v>44495</c:v>
                </c:pt>
                <c:pt idx="329">
                  <c:v>44496</c:v>
                </c:pt>
                <c:pt idx="330">
                  <c:v>44497</c:v>
                </c:pt>
                <c:pt idx="331">
                  <c:v>44498</c:v>
                </c:pt>
                <c:pt idx="332">
                  <c:v>44499</c:v>
                </c:pt>
                <c:pt idx="333">
                  <c:v>44500</c:v>
                </c:pt>
                <c:pt idx="334">
                  <c:v>44501</c:v>
                </c:pt>
                <c:pt idx="335">
                  <c:v>44502</c:v>
                </c:pt>
                <c:pt idx="336">
                  <c:v>44503</c:v>
                </c:pt>
                <c:pt idx="337">
                  <c:v>44504</c:v>
                </c:pt>
                <c:pt idx="338">
                  <c:v>44505</c:v>
                </c:pt>
                <c:pt idx="339">
                  <c:v>44506</c:v>
                </c:pt>
                <c:pt idx="340">
                  <c:v>44507</c:v>
                </c:pt>
                <c:pt idx="341">
                  <c:v>44508</c:v>
                </c:pt>
                <c:pt idx="342">
                  <c:v>44509</c:v>
                </c:pt>
                <c:pt idx="343">
                  <c:v>44510</c:v>
                </c:pt>
                <c:pt idx="344">
                  <c:v>44511</c:v>
                </c:pt>
                <c:pt idx="345">
                  <c:v>44512</c:v>
                </c:pt>
                <c:pt idx="346">
                  <c:v>44513</c:v>
                </c:pt>
                <c:pt idx="347">
                  <c:v>44514</c:v>
                </c:pt>
                <c:pt idx="348">
                  <c:v>44515</c:v>
                </c:pt>
                <c:pt idx="349">
                  <c:v>44516</c:v>
                </c:pt>
                <c:pt idx="350">
                  <c:v>44517</c:v>
                </c:pt>
                <c:pt idx="351">
                  <c:v>44518</c:v>
                </c:pt>
                <c:pt idx="352">
                  <c:v>44519</c:v>
                </c:pt>
                <c:pt idx="353">
                  <c:v>44520</c:v>
                </c:pt>
                <c:pt idx="354">
                  <c:v>44521</c:v>
                </c:pt>
                <c:pt idx="355">
                  <c:v>44522</c:v>
                </c:pt>
                <c:pt idx="356">
                  <c:v>44523</c:v>
                </c:pt>
                <c:pt idx="357">
                  <c:v>44524</c:v>
                </c:pt>
                <c:pt idx="358">
                  <c:v>44525</c:v>
                </c:pt>
                <c:pt idx="359">
                  <c:v>44526</c:v>
                </c:pt>
                <c:pt idx="360">
                  <c:v>44527</c:v>
                </c:pt>
                <c:pt idx="361">
                  <c:v>44528</c:v>
                </c:pt>
                <c:pt idx="362">
                  <c:v>44529</c:v>
                </c:pt>
                <c:pt idx="363">
                  <c:v>44530</c:v>
                </c:pt>
                <c:pt idx="364">
                  <c:v>44531</c:v>
                </c:pt>
                <c:pt idx="365">
                  <c:v>44532</c:v>
                </c:pt>
                <c:pt idx="366">
                  <c:v>44533</c:v>
                </c:pt>
                <c:pt idx="367">
                  <c:v>44534</c:v>
                </c:pt>
                <c:pt idx="368">
                  <c:v>44535</c:v>
                </c:pt>
                <c:pt idx="369">
                  <c:v>44536</c:v>
                </c:pt>
                <c:pt idx="370">
                  <c:v>44537</c:v>
                </c:pt>
                <c:pt idx="371">
                  <c:v>44538</c:v>
                </c:pt>
                <c:pt idx="372">
                  <c:v>44539</c:v>
                </c:pt>
                <c:pt idx="373">
                  <c:v>44540</c:v>
                </c:pt>
                <c:pt idx="374">
                  <c:v>44541</c:v>
                </c:pt>
                <c:pt idx="375">
                  <c:v>44542</c:v>
                </c:pt>
                <c:pt idx="376">
                  <c:v>44543</c:v>
                </c:pt>
                <c:pt idx="377">
                  <c:v>44544</c:v>
                </c:pt>
                <c:pt idx="378">
                  <c:v>44545</c:v>
                </c:pt>
                <c:pt idx="379">
                  <c:v>44546</c:v>
                </c:pt>
                <c:pt idx="380">
                  <c:v>44547</c:v>
                </c:pt>
                <c:pt idx="381">
                  <c:v>44548</c:v>
                </c:pt>
                <c:pt idx="382">
                  <c:v>44549</c:v>
                </c:pt>
                <c:pt idx="383">
                  <c:v>44550</c:v>
                </c:pt>
                <c:pt idx="384">
                  <c:v>44551</c:v>
                </c:pt>
                <c:pt idx="385">
                  <c:v>44552</c:v>
                </c:pt>
                <c:pt idx="386">
                  <c:v>44553</c:v>
                </c:pt>
                <c:pt idx="387">
                  <c:v>44554</c:v>
                </c:pt>
                <c:pt idx="388">
                  <c:v>44555</c:v>
                </c:pt>
                <c:pt idx="389">
                  <c:v>44556</c:v>
                </c:pt>
                <c:pt idx="390">
                  <c:v>44557</c:v>
                </c:pt>
                <c:pt idx="391">
                  <c:v>44558</c:v>
                </c:pt>
                <c:pt idx="392">
                  <c:v>44559</c:v>
                </c:pt>
                <c:pt idx="393">
                  <c:v>44560</c:v>
                </c:pt>
                <c:pt idx="394">
                  <c:v>44561</c:v>
                </c:pt>
                <c:pt idx="395">
                  <c:v>44562</c:v>
                </c:pt>
                <c:pt idx="396">
                  <c:v>44563</c:v>
                </c:pt>
                <c:pt idx="397">
                  <c:v>44564</c:v>
                </c:pt>
                <c:pt idx="398">
                  <c:v>44565</c:v>
                </c:pt>
                <c:pt idx="399">
                  <c:v>44566</c:v>
                </c:pt>
                <c:pt idx="400">
                  <c:v>44567</c:v>
                </c:pt>
                <c:pt idx="401">
                  <c:v>44568</c:v>
                </c:pt>
                <c:pt idx="402">
                  <c:v>44569</c:v>
                </c:pt>
                <c:pt idx="403">
                  <c:v>44570</c:v>
                </c:pt>
                <c:pt idx="404">
                  <c:v>44571</c:v>
                </c:pt>
                <c:pt idx="405">
                  <c:v>44572</c:v>
                </c:pt>
                <c:pt idx="406">
                  <c:v>44573</c:v>
                </c:pt>
                <c:pt idx="407">
                  <c:v>44574</c:v>
                </c:pt>
                <c:pt idx="408">
                  <c:v>44575</c:v>
                </c:pt>
              </c:numCache>
            </c:numRef>
          </c:cat>
          <c:val>
            <c:numRef>
              <c:f>Sheet1!$B$2:$B$410</c:f>
              <c:numCache>
                <c:formatCode>General</c:formatCode>
                <c:ptCount val="409"/>
                <c:pt idx="0">
                  <c:v>1</c:v>
                </c:pt>
                <c:pt idx="1">
                  <c:v>0</c:v>
                </c:pt>
                <c:pt idx="2">
                  <c:v>0</c:v>
                </c:pt>
                <c:pt idx="3">
                  <c:v>1</c:v>
                </c:pt>
                <c:pt idx="4">
                  <c:v>1</c:v>
                </c:pt>
                <c:pt idx="5">
                  <c:v>0</c:v>
                </c:pt>
                <c:pt idx="6">
                  <c:v>0</c:v>
                </c:pt>
                <c:pt idx="7">
                  <c:v>1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1</c:v>
                </c:pt>
                <c:pt idx="14">
                  <c:v>0</c:v>
                </c:pt>
                <c:pt idx="15">
                  <c:v>1</c:v>
                </c:pt>
                <c:pt idx="16">
                  <c:v>1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2</c:v>
                </c:pt>
                <c:pt idx="23">
                  <c:v>4</c:v>
                </c:pt>
                <c:pt idx="24">
                  <c:v>1</c:v>
                </c:pt>
                <c:pt idx="25">
                  <c:v>8</c:v>
                </c:pt>
                <c:pt idx="26">
                  <c:v>9</c:v>
                </c:pt>
                <c:pt idx="27">
                  <c:v>18</c:v>
                </c:pt>
                <c:pt idx="28">
                  <c:v>9</c:v>
                </c:pt>
                <c:pt idx="29">
                  <c:v>7</c:v>
                </c:pt>
                <c:pt idx="30">
                  <c:v>46</c:v>
                </c:pt>
                <c:pt idx="31">
                  <c:v>15</c:v>
                </c:pt>
                <c:pt idx="32">
                  <c:v>8</c:v>
                </c:pt>
                <c:pt idx="33">
                  <c:v>17</c:v>
                </c:pt>
                <c:pt idx="34">
                  <c:v>28</c:v>
                </c:pt>
                <c:pt idx="35">
                  <c:v>12</c:v>
                </c:pt>
                <c:pt idx="36">
                  <c:v>2</c:v>
                </c:pt>
                <c:pt idx="37">
                  <c:v>28</c:v>
                </c:pt>
                <c:pt idx="38">
                  <c:v>36</c:v>
                </c:pt>
                <c:pt idx="39">
                  <c:v>49</c:v>
                </c:pt>
                <c:pt idx="40">
                  <c:v>33</c:v>
                </c:pt>
                <c:pt idx="41">
                  <c:v>40</c:v>
                </c:pt>
                <c:pt idx="42">
                  <c:v>25</c:v>
                </c:pt>
                <c:pt idx="43">
                  <c:v>16</c:v>
                </c:pt>
                <c:pt idx="44">
                  <c:v>42</c:v>
                </c:pt>
                <c:pt idx="45">
                  <c:v>40</c:v>
                </c:pt>
                <c:pt idx="46">
                  <c:v>53</c:v>
                </c:pt>
                <c:pt idx="47">
                  <c:v>62</c:v>
                </c:pt>
                <c:pt idx="48">
                  <c:v>74</c:v>
                </c:pt>
                <c:pt idx="49">
                  <c:v>45</c:v>
                </c:pt>
                <c:pt idx="50">
                  <c:v>33</c:v>
                </c:pt>
                <c:pt idx="51">
                  <c:v>78</c:v>
                </c:pt>
                <c:pt idx="52">
                  <c:v>70</c:v>
                </c:pt>
                <c:pt idx="53">
                  <c:v>42</c:v>
                </c:pt>
                <c:pt idx="54">
                  <c:v>84</c:v>
                </c:pt>
                <c:pt idx="55">
                  <c:v>95</c:v>
                </c:pt>
                <c:pt idx="56">
                  <c:v>37</c:v>
                </c:pt>
                <c:pt idx="57">
                  <c:v>37</c:v>
                </c:pt>
                <c:pt idx="58">
                  <c:v>63</c:v>
                </c:pt>
                <c:pt idx="59">
                  <c:v>63</c:v>
                </c:pt>
                <c:pt idx="60">
                  <c:v>64</c:v>
                </c:pt>
                <c:pt idx="61">
                  <c:v>78</c:v>
                </c:pt>
                <c:pt idx="62">
                  <c:v>84</c:v>
                </c:pt>
                <c:pt idx="63">
                  <c:v>31</c:v>
                </c:pt>
                <c:pt idx="64">
                  <c:v>16</c:v>
                </c:pt>
                <c:pt idx="65">
                  <c:v>53</c:v>
                </c:pt>
                <c:pt idx="66">
                  <c:v>72</c:v>
                </c:pt>
                <c:pt idx="67">
                  <c:v>118</c:v>
                </c:pt>
                <c:pt idx="68">
                  <c:v>91</c:v>
                </c:pt>
                <c:pt idx="69">
                  <c:v>79</c:v>
                </c:pt>
                <c:pt idx="70">
                  <c:v>43</c:v>
                </c:pt>
                <c:pt idx="71">
                  <c:v>23</c:v>
                </c:pt>
                <c:pt idx="72">
                  <c:v>65</c:v>
                </c:pt>
                <c:pt idx="73">
                  <c:v>26</c:v>
                </c:pt>
                <c:pt idx="74">
                  <c:v>47</c:v>
                </c:pt>
                <c:pt idx="75">
                  <c:v>59</c:v>
                </c:pt>
                <c:pt idx="76">
                  <c:v>50</c:v>
                </c:pt>
                <c:pt idx="77">
                  <c:v>20</c:v>
                </c:pt>
                <c:pt idx="78">
                  <c:v>13</c:v>
                </c:pt>
                <c:pt idx="79">
                  <c:v>67</c:v>
                </c:pt>
                <c:pt idx="80">
                  <c:v>40</c:v>
                </c:pt>
                <c:pt idx="81">
                  <c:v>25</c:v>
                </c:pt>
                <c:pt idx="82">
                  <c:v>34</c:v>
                </c:pt>
                <c:pt idx="83">
                  <c:v>27</c:v>
                </c:pt>
                <c:pt idx="84">
                  <c:v>15</c:v>
                </c:pt>
                <c:pt idx="85">
                  <c:v>13</c:v>
                </c:pt>
                <c:pt idx="86">
                  <c:v>41</c:v>
                </c:pt>
                <c:pt idx="87">
                  <c:v>33</c:v>
                </c:pt>
                <c:pt idx="88">
                  <c:v>27</c:v>
                </c:pt>
                <c:pt idx="89">
                  <c:v>22</c:v>
                </c:pt>
                <c:pt idx="90">
                  <c:v>36</c:v>
                </c:pt>
                <c:pt idx="91">
                  <c:v>19</c:v>
                </c:pt>
                <c:pt idx="92">
                  <c:v>10</c:v>
                </c:pt>
                <c:pt idx="93">
                  <c:v>34</c:v>
                </c:pt>
                <c:pt idx="94">
                  <c:v>28</c:v>
                </c:pt>
                <c:pt idx="95">
                  <c:v>33</c:v>
                </c:pt>
                <c:pt idx="96">
                  <c:v>24</c:v>
                </c:pt>
                <c:pt idx="97">
                  <c:v>33</c:v>
                </c:pt>
                <c:pt idx="98">
                  <c:v>18</c:v>
                </c:pt>
                <c:pt idx="99">
                  <c:v>24</c:v>
                </c:pt>
                <c:pt idx="100">
                  <c:v>36</c:v>
                </c:pt>
                <c:pt idx="101">
                  <c:v>26</c:v>
                </c:pt>
                <c:pt idx="102">
                  <c:v>27</c:v>
                </c:pt>
                <c:pt idx="103">
                  <c:v>14</c:v>
                </c:pt>
                <c:pt idx="104">
                  <c:v>39</c:v>
                </c:pt>
                <c:pt idx="105">
                  <c:v>15</c:v>
                </c:pt>
                <c:pt idx="106">
                  <c:v>6</c:v>
                </c:pt>
                <c:pt idx="107">
                  <c:v>30</c:v>
                </c:pt>
                <c:pt idx="108">
                  <c:v>41</c:v>
                </c:pt>
                <c:pt idx="109">
                  <c:v>21</c:v>
                </c:pt>
                <c:pt idx="110">
                  <c:v>5</c:v>
                </c:pt>
                <c:pt idx="111">
                  <c:v>21</c:v>
                </c:pt>
                <c:pt idx="112">
                  <c:v>17</c:v>
                </c:pt>
                <c:pt idx="113">
                  <c:v>19</c:v>
                </c:pt>
                <c:pt idx="114">
                  <c:v>20</c:v>
                </c:pt>
                <c:pt idx="115">
                  <c:v>44</c:v>
                </c:pt>
                <c:pt idx="116">
                  <c:v>25</c:v>
                </c:pt>
                <c:pt idx="117">
                  <c:v>36</c:v>
                </c:pt>
                <c:pt idx="118">
                  <c:v>19</c:v>
                </c:pt>
                <c:pt idx="119">
                  <c:v>14</c:v>
                </c:pt>
                <c:pt idx="120">
                  <c:v>5</c:v>
                </c:pt>
                <c:pt idx="121">
                  <c:v>32</c:v>
                </c:pt>
                <c:pt idx="122">
                  <c:v>30</c:v>
                </c:pt>
                <c:pt idx="123">
                  <c:v>36</c:v>
                </c:pt>
                <c:pt idx="124">
                  <c:v>40</c:v>
                </c:pt>
                <c:pt idx="125">
                  <c:v>33</c:v>
                </c:pt>
                <c:pt idx="126">
                  <c:v>15</c:v>
                </c:pt>
                <c:pt idx="127">
                  <c:v>8</c:v>
                </c:pt>
                <c:pt idx="128">
                  <c:v>52</c:v>
                </c:pt>
                <c:pt idx="129">
                  <c:v>24</c:v>
                </c:pt>
                <c:pt idx="130">
                  <c:v>22</c:v>
                </c:pt>
                <c:pt idx="131">
                  <c:v>13</c:v>
                </c:pt>
                <c:pt idx="132">
                  <c:v>20</c:v>
                </c:pt>
                <c:pt idx="133">
                  <c:v>12</c:v>
                </c:pt>
                <c:pt idx="134">
                  <c:v>15</c:v>
                </c:pt>
                <c:pt idx="135">
                  <c:v>29</c:v>
                </c:pt>
                <c:pt idx="136">
                  <c:v>23</c:v>
                </c:pt>
                <c:pt idx="137">
                  <c:v>38</c:v>
                </c:pt>
                <c:pt idx="138">
                  <c:v>23</c:v>
                </c:pt>
                <c:pt idx="139">
                  <c:v>21</c:v>
                </c:pt>
                <c:pt idx="140">
                  <c:v>7</c:v>
                </c:pt>
                <c:pt idx="141">
                  <c:v>9</c:v>
                </c:pt>
                <c:pt idx="142">
                  <c:v>21</c:v>
                </c:pt>
                <c:pt idx="143">
                  <c:v>12</c:v>
                </c:pt>
                <c:pt idx="144">
                  <c:v>21</c:v>
                </c:pt>
                <c:pt idx="145">
                  <c:v>11</c:v>
                </c:pt>
                <c:pt idx="146">
                  <c:v>8</c:v>
                </c:pt>
                <c:pt idx="147">
                  <c:v>10</c:v>
                </c:pt>
                <c:pt idx="148">
                  <c:v>5</c:v>
                </c:pt>
                <c:pt idx="149">
                  <c:v>21</c:v>
                </c:pt>
                <c:pt idx="150">
                  <c:v>20</c:v>
                </c:pt>
                <c:pt idx="151">
                  <c:v>13</c:v>
                </c:pt>
                <c:pt idx="152">
                  <c:v>20</c:v>
                </c:pt>
                <c:pt idx="153">
                  <c:v>15</c:v>
                </c:pt>
                <c:pt idx="154">
                  <c:v>5</c:v>
                </c:pt>
                <c:pt idx="155">
                  <c:v>5</c:v>
                </c:pt>
                <c:pt idx="156">
                  <c:v>14</c:v>
                </c:pt>
                <c:pt idx="157">
                  <c:v>15</c:v>
                </c:pt>
                <c:pt idx="158">
                  <c:v>16</c:v>
                </c:pt>
                <c:pt idx="159">
                  <c:v>11</c:v>
                </c:pt>
                <c:pt idx="160">
                  <c:v>13</c:v>
                </c:pt>
                <c:pt idx="161">
                  <c:v>2</c:v>
                </c:pt>
                <c:pt idx="162">
                  <c:v>3</c:v>
                </c:pt>
                <c:pt idx="163">
                  <c:v>8</c:v>
                </c:pt>
                <c:pt idx="164">
                  <c:v>7</c:v>
                </c:pt>
                <c:pt idx="165">
                  <c:v>7</c:v>
                </c:pt>
                <c:pt idx="166">
                  <c:v>9</c:v>
                </c:pt>
                <c:pt idx="167">
                  <c:v>5</c:v>
                </c:pt>
                <c:pt idx="168">
                  <c:v>10</c:v>
                </c:pt>
                <c:pt idx="169">
                  <c:v>3</c:v>
                </c:pt>
                <c:pt idx="170">
                  <c:v>21</c:v>
                </c:pt>
                <c:pt idx="171">
                  <c:v>15</c:v>
                </c:pt>
                <c:pt idx="172">
                  <c:v>7</c:v>
                </c:pt>
                <c:pt idx="173">
                  <c:v>11</c:v>
                </c:pt>
                <c:pt idx="174">
                  <c:v>7</c:v>
                </c:pt>
                <c:pt idx="175">
                  <c:v>3</c:v>
                </c:pt>
                <c:pt idx="176">
                  <c:v>1</c:v>
                </c:pt>
                <c:pt idx="177">
                  <c:v>10</c:v>
                </c:pt>
                <c:pt idx="178">
                  <c:v>7</c:v>
                </c:pt>
                <c:pt idx="179">
                  <c:v>8</c:v>
                </c:pt>
                <c:pt idx="180">
                  <c:v>4</c:v>
                </c:pt>
                <c:pt idx="181">
                  <c:v>7</c:v>
                </c:pt>
                <c:pt idx="182">
                  <c:v>2</c:v>
                </c:pt>
                <c:pt idx="183">
                  <c:v>3</c:v>
                </c:pt>
                <c:pt idx="184">
                  <c:v>6</c:v>
                </c:pt>
                <c:pt idx="185">
                  <c:v>8</c:v>
                </c:pt>
                <c:pt idx="186">
                  <c:v>10</c:v>
                </c:pt>
                <c:pt idx="187">
                  <c:v>3</c:v>
                </c:pt>
                <c:pt idx="188">
                  <c:v>5</c:v>
                </c:pt>
                <c:pt idx="189">
                  <c:v>5</c:v>
                </c:pt>
                <c:pt idx="190">
                  <c:v>3</c:v>
                </c:pt>
                <c:pt idx="191">
                  <c:v>10</c:v>
                </c:pt>
                <c:pt idx="192">
                  <c:v>9</c:v>
                </c:pt>
                <c:pt idx="193">
                  <c:v>2</c:v>
                </c:pt>
                <c:pt idx="194">
                  <c:v>8</c:v>
                </c:pt>
                <c:pt idx="195">
                  <c:v>11</c:v>
                </c:pt>
                <c:pt idx="196">
                  <c:v>3</c:v>
                </c:pt>
                <c:pt idx="197">
                  <c:v>2</c:v>
                </c:pt>
                <c:pt idx="198">
                  <c:v>5</c:v>
                </c:pt>
                <c:pt idx="199">
                  <c:v>7</c:v>
                </c:pt>
                <c:pt idx="200">
                  <c:v>3</c:v>
                </c:pt>
                <c:pt idx="201">
                  <c:v>2</c:v>
                </c:pt>
                <c:pt idx="202">
                  <c:v>1</c:v>
                </c:pt>
                <c:pt idx="203">
                  <c:v>2</c:v>
                </c:pt>
                <c:pt idx="204">
                  <c:v>0</c:v>
                </c:pt>
                <c:pt idx="205">
                  <c:v>2</c:v>
                </c:pt>
                <c:pt idx="206">
                  <c:v>1</c:v>
                </c:pt>
                <c:pt idx="207">
                  <c:v>1</c:v>
                </c:pt>
                <c:pt idx="208">
                  <c:v>2</c:v>
                </c:pt>
                <c:pt idx="209">
                  <c:v>1</c:v>
                </c:pt>
                <c:pt idx="210">
                  <c:v>2</c:v>
                </c:pt>
                <c:pt idx="211">
                  <c:v>2</c:v>
                </c:pt>
                <c:pt idx="212">
                  <c:v>0</c:v>
                </c:pt>
                <c:pt idx="213">
                  <c:v>0</c:v>
                </c:pt>
                <c:pt idx="214">
                  <c:v>5</c:v>
                </c:pt>
                <c:pt idx="215">
                  <c:v>0</c:v>
                </c:pt>
                <c:pt idx="216">
                  <c:v>1</c:v>
                </c:pt>
                <c:pt idx="217">
                  <c:v>0</c:v>
                </c:pt>
                <c:pt idx="218">
                  <c:v>0</c:v>
                </c:pt>
                <c:pt idx="219">
                  <c:v>1</c:v>
                </c:pt>
                <c:pt idx="220">
                  <c:v>3</c:v>
                </c:pt>
                <c:pt idx="221">
                  <c:v>0</c:v>
                </c:pt>
                <c:pt idx="222">
                  <c:v>1</c:v>
                </c:pt>
                <c:pt idx="223">
                  <c:v>0</c:v>
                </c:pt>
                <c:pt idx="224">
                  <c:v>0</c:v>
                </c:pt>
                <c:pt idx="225">
                  <c:v>0</c:v>
                </c:pt>
                <c:pt idx="226">
                  <c:v>1</c:v>
                </c:pt>
                <c:pt idx="227">
                  <c:v>1</c:v>
                </c:pt>
                <c:pt idx="228">
                  <c:v>2</c:v>
                </c:pt>
                <c:pt idx="229">
                  <c:v>2</c:v>
                </c:pt>
                <c:pt idx="230">
                  <c:v>1</c:v>
                </c:pt>
                <c:pt idx="231">
                  <c:v>0</c:v>
                </c:pt>
                <c:pt idx="232">
                  <c:v>0</c:v>
                </c:pt>
                <c:pt idx="233">
                  <c:v>4</c:v>
                </c:pt>
                <c:pt idx="234">
                  <c:v>0</c:v>
                </c:pt>
                <c:pt idx="235">
                  <c:v>1</c:v>
                </c:pt>
                <c:pt idx="236">
                  <c:v>0</c:v>
                </c:pt>
                <c:pt idx="237">
                  <c:v>0</c:v>
                </c:pt>
                <c:pt idx="238">
                  <c:v>0</c:v>
                </c:pt>
                <c:pt idx="239">
                  <c:v>0</c:v>
                </c:pt>
                <c:pt idx="240">
                  <c:v>0</c:v>
                </c:pt>
                <c:pt idx="241">
                  <c:v>0</c:v>
                </c:pt>
                <c:pt idx="242">
                  <c:v>1</c:v>
                </c:pt>
                <c:pt idx="243">
                  <c:v>0</c:v>
                </c:pt>
                <c:pt idx="244">
                  <c:v>2</c:v>
                </c:pt>
                <c:pt idx="245">
                  <c:v>3</c:v>
                </c:pt>
                <c:pt idx="246">
                  <c:v>1</c:v>
                </c:pt>
                <c:pt idx="247">
                  <c:v>2</c:v>
                </c:pt>
                <c:pt idx="248">
                  <c:v>2</c:v>
                </c:pt>
                <c:pt idx="249">
                  <c:v>1</c:v>
                </c:pt>
                <c:pt idx="250">
                  <c:v>1</c:v>
                </c:pt>
                <c:pt idx="251">
                  <c:v>0</c:v>
                </c:pt>
                <c:pt idx="252">
                  <c:v>2</c:v>
                </c:pt>
                <c:pt idx="253">
                  <c:v>0</c:v>
                </c:pt>
                <c:pt idx="254">
                  <c:v>0</c:v>
                </c:pt>
                <c:pt idx="255">
                  <c:v>0</c:v>
                </c:pt>
                <c:pt idx="256">
                  <c:v>0</c:v>
                </c:pt>
                <c:pt idx="257">
                  <c:v>0</c:v>
                </c:pt>
                <c:pt idx="258">
                  <c:v>0</c:v>
                </c:pt>
                <c:pt idx="259">
                  <c:v>2</c:v>
                </c:pt>
                <c:pt idx="260">
                  <c:v>1</c:v>
                </c:pt>
                <c:pt idx="261">
                  <c:v>0</c:v>
                </c:pt>
                <c:pt idx="262">
                  <c:v>1</c:v>
                </c:pt>
                <c:pt idx="263">
                  <c:v>1</c:v>
                </c:pt>
                <c:pt idx="264">
                  <c:v>0</c:v>
                </c:pt>
                <c:pt idx="265">
                  <c:v>0</c:v>
                </c:pt>
                <c:pt idx="266">
                  <c:v>0</c:v>
                </c:pt>
                <c:pt idx="267">
                  <c:v>1</c:v>
                </c:pt>
                <c:pt idx="268">
                  <c:v>1</c:v>
                </c:pt>
                <c:pt idx="269">
                  <c:v>0</c:v>
                </c:pt>
                <c:pt idx="270">
                  <c:v>0</c:v>
                </c:pt>
                <c:pt idx="271">
                  <c:v>1</c:v>
                </c:pt>
                <c:pt idx="272">
                  <c:v>0</c:v>
                </c:pt>
                <c:pt idx="273">
                  <c:v>0</c:v>
                </c:pt>
                <c:pt idx="274">
                  <c:v>0</c:v>
                </c:pt>
                <c:pt idx="275">
                  <c:v>0</c:v>
                </c:pt>
                <c:pt idx="276">
                  <c:v>0</c:v>
                </c:pt>
                <c:pt idx="277">
                  <c:v>1</c:v>
                </c:pt>
                <c:pt idx="278">
                  <c:v>1</c:v>
                </c:pt>
                <c:pt idx="279">
                  <c:v>0</c:v>
                </c:pt>
                <c:pt idx="280">
                  <c:v>0</c:v>
                </c:pt>
                <c:pt idx="281">
                  <c:v>0</c:v>
                </c:pt>
                <c:pt idx="282">
                  <c:v>0</c:v>
                </c:pt>
                <c:pt idx="283">
                  <c:v>2</c:v>
                </c:pt>
                <c:pt idx="284">
                  <c:v>2</c:v>
                </c:pt>
                <c:pt idx="285">
                  <c:v>1</c:v>
                </c:pt>
                <c:pt idx="286">
                  <c:v>0</c:v>
                </c:pt>
                <c:pt idx="287">
                  <c:v>2</c:v>
                </c:pt>
                <c:pt idx="288">
                  <c:v>0</c:v>
                </c:pt>
                <c:pt idx="289">
                  <c:v>0</c:v>
                </c:pt>
                <c:pt idx="290">
                  <c:v>0</c:v>
                </c:pt>
                <c:pt idx="291">
                  <c:v>0</c:v>
                </c:pt>
                <c:pt idx="292">
                  <c:v>0</c:v>
                </c:pt>
                <c:pt idx="293">
                  <c:v>0</c:v>
                </c:pt>
                <c:pt idx="294">
                  <c:v>0</c:v>
                </c:pt>
                <c:pt idx="295">
                  <c:v>0</c:v>
                </c:pt>
                <c:pt idx="296">
                  <c:v>2</c:v>
                </c:pt>
                <c:pt idx="297">
                  <c:v>0</c:v>
                </c:pt>
                <c:pt idx="298">
                  <c:v>0</c:v>
                </c:pt>
                <c:pt idx="299">
                  <c:v>0</c:v>
                </c:pt>
                <c:pt idx="300">
                  <c:v>1</c:v>
                </c:pt>
                <c:pt idx="301">
                  <c:v>0</c:v>
                </c:pt>
                <c:pt idx="302">
                  <c:v>0</c:v>
                </c:pt>
                <c:pt idx="303">
                  <c:v>0</c:v>
                </c:pt>
                <c:pt idx="304">
                  <c:v>1</c:v>
                </c:pt>
                <c:pt idx="305">
                  <c:v>0</c:v>
                </c:pt>
                <c:pt idx="306">
                  <c:v>0</c:v>
                </c:pt>
                <c:pt idx="307">
                  <c:v>0</c:v>
                </c:pt>
                <c:pt idx="308">
                  <c:v>0</c:v>
                </c:pt>
                <c:pt idx="309">
                  <c:v>3</c:v>
                </c:pt>
                <c:pt idx="310">
                  <c:v>1</c:v>
                </c:pt>
                <c:pt idx="311">
                  <c:v>2</c:v>
                </c:pt>
                <c:pt idx="312">
                  <c:v>0</c:v>
                </c:pt>
                <c:pt idx="313">
                  <c:v>1</c:v>
                </c:pt>
                <c:pt idx="314">
                  <c:v>0</c:v>
                </c:pt>
                <c:pt idx="315">
                  <c:v>3</c:v>
                </c:pt>
                <c:pt idx="316">
                  <c:v>1</c:v>
                </c:pt>
                <c:pt idx="317">
                  <c:v>0</c:v>
                </c:pt>
                <c:pt idx="318">
                  <c:v>0</c:v>
                </c:pt>
                <c:pt idx="319">
                  <c:v>0</c:v>
                </c:pt>
                <c:pt idx="320">
                  <c:v>4</c:v>
                </c:pt>
                <c:pt idx="321">
                  <c:v>0</c:v>
                </c:pt>
                <c:pt idx="322">
                  <c:v>1</c:v>
                </c:pt>
                <c:pt idx="323">
                  <c:v>0</c:v>
                </c:pt>
                <c:pt idx="324">
                  <c:v>2</c:v>
                </c:pt>
                <c:pt idx="325">
                  <c:v>0</c:v>
                </c:pt>
                <c:pt idx="326">
                  <c:v>0</c:v>
                </c:pt>
                <c:pt idx="327">
                  <c:v>4</c:v>
                </c:pt>
                <c:pt idx="328">
                  <c:v>2</c:v>
                </c:pt>
                <c:pt idx="329">
                  <c:v>2</c:v>
                </c:pt>
                <c:pt idx="330">
                  <c:v>0</c:v>
                </c:pt>
                <c:pt idx="331">
                  <c:v>5</c:v>
                </c:pt>
                <c:pt idx="332">
                  <c:v>3</c:v>
                </c:pt>
                <c:pt idx="333">
                  <c:v>2</c:v>
                </c:pt>
                <c:pt idx="334">
                  <c:v>8</c:v>
                </c:pt>
                <c:pt idx="335">
                  <c:v>6</c:v>
                </c:pt>
                <c:pt idx="336">
                  <c:v>5</c:v>
                </c:pt>
                <c:pt idx="337">
                  <c:v>3</c:v>
                </c:pt>
                <c:pt idx="338">
                  <c:v>6</c:v>
                </c:pt>
                <c:pt idx="339">
                  <c:v>1</c:v>
                </c:pt>
                <c:pt idx="340">
                  <c:v>1</c:v>
                </c:pt>
                <c:pt idx="341">
                  <c:v>5</c:v>
                </c:pt>
                <c:pt idx="342">
                  <c:v>7</c:v>
                </c:pt>
                <c:pt idx="343">
                  <c:v>4</c:v>
                </c:pt>
                <c:pt idx="344">
                  <c:v>6</c:v>
                </c:pt>
                <c:pt idx="345">
                  <c:v>2</c:v>
                </c:pt>
                <c:pt idx="346">
                  <c:v>5</c:v>
                </c:pt>
                <c:pt idx="347">
                  <c:v>2</c:v>
                </c:pt>
                <c:pt idx="348">
                  <c:v>7</c:v>
                </c:pt>
                <c:pt idx="349">
                  <c:v>7</c:v>
                </c:pt>
                <c:pt idx="350">
                  <c:v>6</c:v>
                </c:pt>
                <c:pt idx="351">
                  <c:v>12</c:v>
                </c:pt>
                <c:pt idx="352">
                  <c:v>7</c:v>
                </c:pt>
                <c:pt idx="353">
                  <c:v>3</c:v>
                </c:pt>
                <c:pt idx="354">
                  <c:v>3</c:v>
                </c:pt>
                <c:pt idx="355">
                  <c:v>12</c:v>
                </c:pt>
                <c:pt idx="356">
                  <c:v>5</c:v>
                </c:pt>
                <c:pt idx="357">
                  <c:v>15</c:v>
                </c:pt>
                <c:pt idx="358">
                  <c:v>3</c:v>
                </c:pt>
                <c:pt idx="359">
                  <c:v>8</c:v>
                </c:pt>
                <c:pt idx="360">
                  <c:v>1</c:v>
                </c:pt>
                <c:pt idx="361">
                  <c:v>3</c:v>
                </c:pt>
                <c:pt idx="362">
                  <c:v>7</c:v>
                </c:pt>
                <c:pt idx="363">
                  <c:v>4</c:v>
                </c:pt>
                <c:pt idx="364">
                  <c:v>7</c:v>
                </c:pt>
                <c:pt idx="365">
                  <c:v>6</c:v>
                </c:pt>
                <c:pt idx="366">
                  <c:v>4</c:v>
                </c:pt>
                <c:pt idx="367">
                  <c:v>5</c:v>
                </c:pt>
                <c:pt idx="368">
                  <c:v>2</c:v>
                </c:pt>
                <c:pt idx="369">
                  <c:v>9</c:v>
                </c:pt>
                <c:pt idx="370">
                  <c:v>3</c:v>
                </c:pt>
                <c:pt idx="371">
                  <c:v>6</c:v>
                </c:pt>
                <c:pt idx="372">
                  <c:v>5</c:v>
                </c:pt>
                <c:pt idx="373">
                  <c:v>6</c:v>
                </c:pt>
                <c:pt idx="374">
                  <c:v>2</c:v>
                </c:pt>
                <c:pt idx="375">
                  <c:v>0</c:v>
                </c:pt>
                <c:pt idx="376">
                  <c:v>5</c:v>
                </c:pt>
                <c:pt idx="377">
                  <c:v>2</c:v>
                </c:pt>
                <c:pt idx="378">
                  <c:v>1</c:v>
                </c:pt>
                <c:pt idx="379">
                  <c:v>3</c:v>
                </c:pt>
                <c:pt idx="380">
                  <c:v>3</c:v>
                </c:pt>
                <c:pt idx="381">
                  <c:v>0</c:v>
                </c:pt>
                <c:pt idx="382">
                  <c:v>1</c:v>
                </c:pt>
                <c:pt idx="383">
                  <c:v>6</c:v>
                </c:pt>
                <c:pt idx="384">
                  <c:v>3</c:v>
                </c:pt>
                <c:pt idx="385">
                  <c:v>3</c:v>
                </c:pt>
                <c:pt idx="386">
                  <c:v>1</c:v>
                </c:pt>
                <c:pt idx="387">
                  <c:v>0</c:v>
                </c:pt>
                <c:pt idx="388">
                  <c:v>1</c:v>
                </c:pt>
                <c:pt idx="389">
                  <c:v>0</c:v>
                </c:pt>
                <c:pt idx="390">
                  <c:v>3</c:v>
                </c:pt>
                <c:pt idx="391">
                  <c:v>3</c:v>
                </c:pt>
                <c:pt idx="392">
                  <c:v>3</c:v>
                </c:pt>
                <c:pt idx="393">
                  <c:v>0</c:v>
                </c:pt>
                <c:pt idx="394">
                  <c:v>3</c:v>
                </c:pt>
                <c:pt idx="395">
                  <c:v>1</c:v>
                </c:pt>
                <c:pt idx="396">
                  <c:v>0</c:v>
                </c:pt>
                <c:pt idx="397">
                  <c:v>3</c:v>
                </c:pt>
                <c:pt idx="398">
                  <c:v>1</c:v>
                </c:pt>
                <c:pt idx="399">
                  <c:v>1</c:v>
                </c:pt>
                <c:pt idx="400">
                  <c:v>0</c:v>
                </c:pt>
                <c:pt idx="401">
                  <c:v>0</c:v>
                </c:pt>
                <c:pt idx="402">
                  <c:v>0</c:v>
                </c:pt>
                <c:pt idx="403">
                  <c:v>1</c:v>
                </c:pt>
                <c:pt idx="404">
                  <c:v>1</c:v>
                </c:pt>
                <c:pt idx="405">
                  <c:v>0</c:v>
                </c:pt>
                <c:pt idx="406">
                  <c:v>1</c:v>
                </c:pt>
                <c:pt idx="407">
                  <c:v>1</c:v>
                </c:pt>
                <c:pt idx="408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B3E-4315-A7FA-F141290FE6A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-27"/>
        <c:axId val="529925759"/>
        <c:axId val="533925071"/>
      </c:barChart>
      <c:dateAx>
        <c:axId val="529925759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33925071"/>
        <c:crosses val="autoZero"/>
        <c:auto val="1"/>
        <c:lblOffset val="100"/>
        <c:baseTimeUnit val="days"/>
      </c:dateAx>
      <c:valAx>
        <c:axId val="533925071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2992575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040874970922984E-2"/>
          <c:y val="3.3230967698252123E-2"/>
          <c:w val="0.95352420550495698"/>
          <c:h val="0.9122477943279281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loupec2</c:v>
                </c:pt>
              </c:strCache>
            </c:strRef>
          </c:tx>
          <c:spPr>
            <a:solidFill>
              <a:schemeClr val="accent4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7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trendline>
            <c:spPr>
              <a:ln w="19050" cap="rnd">
                <a:solidFill>
                  <a:schemeClr val="tx1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Sheet1!$A$2:$A$409</c:f>
              <c:numCache>
                <c:formatCode>m/d/yyyy</c:formatCode>
                <c:ptCount val="408"/>
                <c:pt idx="0">
                  <c:v>44075</c:v>
                </c:pt>
                <c:pt idx="1">
                  <c:v>44078</c:v>
                </c:pt>
                <c:pt idx="2">
                  <c:v>44082</c:v>
                </c:pt>
                <c:pt idx="3">
                  <c:v>44083</c:v>
                </c:pt>
                <c:pt idx="4">
                  <c:v>44084</c:v>
                </c:pt>
                <c:pt idx="5">
                  <c:v>44085</c:v>
                </c:pt>
                <c:pt idx="6">
                  <c:v>44086</c:v>
                </c:pt>
                <c:pt idx="7">
                  <c:v>44087</c:v>
                </c:pt>
                <c:pt idx="8">
                  <c:v>44088</c:v>
                </c:pt>
                <c:pt idx="9">
                  <c:v>44089</c:v>
                </c:pt>
                <c:pt idx="10">
                  <c:v>44090</c:v>
                </c:pt>
                <c:pt idx="11">
                  <c:v>44091</c:v>
                </c:pt>
                <c:pt idx="12">
                  <c:v>44092</c:v>
                </c:pt>
                <c:pt idx="13">
                  <c:v>44093</c:v>
                </c:pt>
                <c:pt idx="14">
                  <c:v>44094</c:v>
                </c:pt>
                <c:pt idx="15">
                  <c:v>44095</c:v>
                </c:pt>
                <c:pt idx="16">
                  <c:v>44096</c:v>
                </c:pt>
                <c:pt idx="17">
                  <c:v>44097</c:v>
                </c:pt>
                <c:pt idx="18">
                  <c:v>44098</c:v>
                </c:pt>
                <c:pt idx="19">
                  <c:v>44099</c:v>
                </c:pt>
                <c:pt idx="20">
                  <c:v>44100</c:v>
                </c:pt>
                <c:pt idx="21">
                  <c:v>44101</c:v>
                </c:pt>
                <c:pt idx="22">
                  <c:v>44102</c:v>
                </c:pt>
                <c:pt idx="23">
                  <c:v>44103</c:v>
                </c:pt>
                <c:pt idx="24">
                  <c:v>44104</c:v>
                </c:pt>
                <c:pt idx="25">
                  <c:v>44105</c:v>
                </c:pt>
                <c:pt idx="26">
                  <c:v>44106</c:v>
                </c:pt>
                <c:pt idx="27">
                  <c:v>44107</c:v>
                </c:pt>
                <c:pt idx="28">
                  <c:v>44108</c:v>
                </c:pt>
                <c:pt idx="29">
                  <c:v>44109</c:v>
                </c:pt>
                <c:pt idx="30">
                  <c:v>44110</c:v>
                </c:pt>
                <c:pt idx="31">
                  <c:v>44111</c:v>
                </c:pt>
                <c:pt idx="32">
                  <c:v>44112</c:v>
                </c:pt>
                <c:pt idx="33">
                  <c:v>44113</c:v>
                </c:pt>
                <c:pt idx="34">
                  <c:v>44114</c:v>
                </c:pt>
                <c:pt idx="35">
                  <c:v>44115</c:v>
                </c:pt>
                <c:pt idx="36">
                  <c:v>44116</c:v>
                </c:pt>
                <c:pt idx="37">
                  <c:v>44117</c:v>
                </c:pt>
                <c:pt idx="38">
                  <c:v>44118</c:v>
                </c:pt>
                <c:pt idx="39">
                  <c:v>44119</c:v>
                </c:pt>
                <c:pt idx="40">
                  <c:v>44120</c:v>
                </c:pt>
                <c:pt idx="41">
                  <c:v>44121</c:v>
                </c:pt>
                <c:pt idx="42">
                  <c:v>44122</c:v>
                </c:pt>
                <c:pt idx="43">
                  <c:v>44123</c:v>
                </c:pt>
                <c:pt idx="44">
                  <c:v>44124</c:v>
                </c:pt>
                <c:pt idx="45">
                  <c:v>44125</c:v>
                </c:pt>
                <c:pt idx="46">
                  <c:v>44126</c:v>
                </c:pt>
                <c:pt idx="47">
                  <c:v>44127</c:v>
                </c:pt>
                <c:pt idx="48">
                  <c:v>44128</c:v>
                </c:pt>
                <c:pt idx="49">
                  <c:v>44129</c:v>
                </c:pt>
                <c:pt idx="50">
                  <c:v>44130</c:v>
                </c:pt>
                <c:pt idx="51">
                  <c:v>44131</c:v>
                </c:pt>
                <c:pt idx="52">
                  <c:v>44132</c:v>
                </c:pt>
                <c:pt idx="53">
                  <c:v>44133</c:v>
                </c:pt>
                <c:pt idx="54">
                  <c:v>44134</c:v>
                </c:pt>
                <c:pt idx="55">
                  <c:v>44135</c:v>
                </c:pt>
                <c:pt idx="56">
                  <c:v>44136</c:v>
                </c:pt>
                <c:pt idx="57">
                  <c:v>44137</c:v>
                </c:pt>
                <c:pt idx="58">
                  <c:v>44138</c:v>
                </c:pt>
                <c:pt idx="59">
                  <c:v>44139</c:v>
                </c:pt>
                <c:pt idx="60">
                  <c:v>44140</c:v>
                </c:pt>
                <c:pt idx="61">
                  <c:v>44141</c:v>
                </c:pt>
                <c:pt idx="62">
                  <c:v>44142</c:v>
                </c:pt>
                <c:pt idx="63">
                  <c:v>44143</c:v>
                </c:pt>
                <c:pt idx="64">
                  <c:v>44144</c:v>
                </c:pt>
                <c:pt idx="65">
                  <c:v>44145</c:v>
                </c:pt>
                <c:pt idx="66">
                  <c:v>44146</c:v>
                </c:pt>
                <c:pt idx="67">
                  <c:v>44147</c:v>
                </c:pt>
                <c:pt idx="68">
                  <c:v>44148</c:v>
                </c:pt>
                <c:pt idx="69">
                  <c:v>44149</c:v>
                </c:pt>
                <c:pt idx="70">
                  <c:v>44150</c:v>
                </c:pt>
                <c:pt idx="71">
                  <c:v>44151</c:v>
                </c:pt>
                <c:pt idx="72">
                  <c:v>44152</c:v>
                </c:pt>
                <c:pt idx="73">
                  <c:v>44153</c:v>
                </c:pt>
                <c:pt idx="74">
                  <c:v>44154</c:v>
                </c:pt>
                <c:pt idx="75">
                  <c:v>44155</c:v>
                </c:pt>
                <c:pt idx="76">
                  <c:v>44156</c:v>
                </c:pt>
                <c:pt idx="77">
                  <c:v>44157</c:v>
                </c:pt>
                <c:pt idx="78">
                  <c:v>44158</c:v>
                </c:pt>
                <c:pt idx="79">
                  <c:v>44159</c:v>
                </c:pt>
                <c:pt idx="80">
                  <c:v>44160</c:v>
                </c:pt>
                <c:pt idx="81">
                  <c:v>44161</c:v>
                </c:pt>
                <c:pt idx="82">
                  <c:v>44162</c:v>
                </c:pt>
                <c:pt idx="83">
                  <c:v>44163</c:v>
                </c:pt>
                <c:pt idx="84">
                  <c:v>44164</c:v>
                </c:pt>
                <c:pt idx="85">
                  <c:v>44165</c:v>
                </c:pt>
                <c:pt idx="86">
                  <c:v>44166</c:v>
                </c:pt>
                <c:pt idx="87">
                  <c:v>44167</c:v>
                </c:pt>
                <c:pt idx="88">
                  <c:v>44168</c:v>
                </c:pt>
                <c:pt idx="89">
                  <c:v>44169</c:v>
                </c:pt>
                <c:pt idx="90">
                  <c:v>44170</c:v>
                </c:pt>
                <c:pt idx="91">
                  <c:v>44171</c:v>
                </c:pt>
                <c:pt idx="92">
                  <c:v>44172</c:v>
                </c:pt>
                <c:pt idx="93">
                  <c:v>44173</c:v>
                </c:pt>
                <c:pt idx="94">
                  <c:v>44174</c:v>
                </c:pt>
                <c:pt idx="95">
                  <c:v>44175</c:v>
                </c:pt>
                <c:pt idx="96">
                  <c:v>44176</c:v>
                </c:pt>
                <c:pt idx="97">
                  <c:v>44177</c:v>
                </c:pt>
                <c:pt idx="98">
                  <c:v>44178</c:v>
                </c:pt>
                <c:pt idx="99">
                  <c:v>44179</c:v>
                </c:pt>
                <c:pt idx="100">
                  <c:v>44180</c:v>
                </c:pt>
                <c:pt idx="101">
                  <c:v>44181</c:v>
                </c:pt>
                <c:pt idx="102">
                  <c:v>44182</c:v>
                </c:pt>
                <c:pt idx="103">
                  <c:v>44183</c:v>
                </c:pt>
                <c:pt idx="104">
                  <c:v>44184</c:v>
                </c:pt>
                <c:pt idx="105">
                  <c:v>44185</c:v>
                </c:pt>
                <c:pt idx="106">
                  <c:v>44186</c:v>
                </c:pt>
                <c:pt idx="107">
                  <c:v>44187</c:v>
                </c:pt>
                <c:pt idx="108">
                  <c:v>44188</c:v>
                </c:pt>
                <c:pt idx="109">
                  <c:v>44189</c:v>
                </c:pt>
                <c:pt idx="110">
                  <c:v>44190</c:v>
                </c:pt>
                <c:pt idx="111">
                  <c:v>44191</c:v>
                </c:pt>
                <c:pt idx="112">
                  <c:v>44192</c:v>
                </c:pt>
                <c:pt idx="113">
                  <c:v>44193</c:v>
                </c:pt>
                <c:pt idx="114">
                  <c:v>44194</c:v>
                </c:pt>
                <c:pt idx="115">
                  <c:v>44195</c:v>
                </c:pt>
                <c:pt idx="116">
                  <c:v>44196</c:v>
                </c:pt>
                <c:pt idx="117">
                  <c:v>44197</c:v>
                </c:pt>
                <c:pt idx="118">
                  <c:v>44198</c:v>
                </c:pt>
                <c:pt idx="119">
                  <c:v>44199</c:v>
                </c:pt>
                <c:pt idx="120">
                  <c:v>44200</c:v>
                </c:pt>
                <c:pt idx="121">
                  <c:v>44201</c:v>
                </c:pt>
                <c:pt idx="122">
                  <c:v>44202</c:v>
                </c:pt>
                <c:pt idx="123">
                  <c:v>44203</c:v>
                </c:pt>
                <c:pt idx="124">
                  <c:v>44204</c:v>
                </c:pt>
                <c:pt idx="125">
                  <c:v>44205</c:v>
                </c:pt>
                <c:pt idx="126">
                  <c:v>44206</c:v>
                </c:pt>
                <c:pt idx="127">
                  <c:v>44207</c:v>
                </c:pt>
                <c:pt idx="128">
                  <c:v>44208</c:v>
                </c:pt>
                <c:pt idx="129">
                  <c:v>44209</c:v>
                </c:pt>
                <c:pt idx="130">
                  <c:v>44210</c:v>
                </c:pt>
                <c:pt idx="131">
                  <c:v>44211</c:v>
                </c:pt>
                <c:pt idx="132">
                  <c:v>44212</c:v>
                </c:pt>
                <c:pt idx="133">
                  <c:v>44213</c:v>
                </c:pt>
                <c:pt idx="134">
                  <c:v>44214</c:v>
                </c:pt>
                <c:pt idx="135">
                  <c:v>44215</c:v>
                </c:pt>
                <c:pt idx="136">
                  <c:v>44216</c:v>
                </c:pt>
                <c:pt idx="137">
                  <c:v>44217</c:v>
                </c:pt>
                <c:pt idx="138">
                  <c:v>44218</c:v>
                </c:pt>
                <c:pt idx="139">
                  <c:v>44219</c:v>
                </c:pt>
                <c:pt idx="140">
                  <c:v>44220</c:v>
                </c:pt>
                <c:pt idx="141">
                  <c:v>44221</c:v>
                </c:pt>
                <c:pt idx="142">
                  <c:v>44222</c:v>
                </c:pt>
                <c:pt idx="143">
                  <c:v>44223</c:v>
                </c:pt>
                <c:pt idx="144">
                  <c:v>44224</c:v>
                </c:pt>
                <c:pt idx="145">
                  <c:v>44225</c:v>
                </c:pt>
                <c:pt idx="146">
                  <c:v>44226</c:v>
                </c:pt>
                <c:pt idx="147">
                  <c:v>44227</c:v>
                </c:pt>
                <c:pt idx="148">
                  <c:v>44228</c:v>
                </c:pt>
                <c:pt idx="149">
                  <c:v>44229</c:v>
                </c:pt>
                <c:pt idx="150">
                  <c:v>44230</c:v>
                </c:pt>
                <c:pt idx="151">
                  <c:v>44231</c:v>
                </c:pt>
                <c:pt idx="152">
                  <c:v>44232</c:v>
                </c:pt>
                <c:pt idx="153">
                  <c:v>44233</c:v>
                </c:pt>
                <c:pt idx="154">
                  <c:v>44234</c:v>
                </c:pt>
                <c:pt idx="155">
                  <c:v>44235</c:v>
                </c:pt>
                <c:pt idx="156">
                  <c:v>44236</c:v>
                </c:pt>
                <c:pt idx="157">
                  <c:v>44237</c:v>
                </c:pt>
                <c:pt idx="158">
                  <c:v>44238</c:v>
                </c:pt>
                <c:pt idx="159">
                  <c:v>44239</c:v>
                </c:pt>
                <c:pt idx="160">
                  <c:v>44240</c:v>
                </c:pt>
                <c:pt idx="161">
                  <c:v>44241</c:v>
                </c:pt>
                <c:pt idx="162">
                  <c:v>44242</c:v>
                </c:pt>
                <c:pt idx="163">
                  <c:v>44243</c:v>
                </c:pt>
                <c:pt idx="164">
                  <c:v>44244</c:v>
                </c:pt>
                <c:pt idx="165">
                  <c:v>44245</c:v>
                </c:pt>
                <c:pt idx="166">
                  <c:v>44246</c:v>
                </c:pt>
                <c:pt idx="167">
                  <c:v>44247</c:v>
                </c:pt>
                <c:pt idx="168">
                  <c:v>44248</c:v>
                </c:pt>
                <c:pt idx="169">
                  <c:v>44249</c:v>
                </c:pt>
                <c:pt idx="170">
                  <c:v>44250</c:v>
                </c:pt>
                <c:pt idx="171">
                  <c:v>44251</c:v>
                </c:pt>
                <c:pt idx="172">
                  <c:v>44252</c:v>
                </c:pt>
                <c:pt idx="173">
                  <c:v>44253</c:v>
                </c:pt>
                <c:pt idx="174">
                  <c:v>44254</c:v>
                </c:pt>
                <c:pt idx="175">
                  <c:v>44255</c:v>
                </c:pt>
                <c:pt idx="176">
                  <c:v>44256</c:v>
                </c:pt>
                <c:pt idx="177">
                  <c:v>44257</c:v>
                </c:pt>
                <c:pt idx="178">
                  <c:v>44258</c:v>
                </c:pt>
                <c:pt idx="179">
                  <c:v>44259</c:v>
                </c:pt>
                <c:pt idx="180">
                  <c:v>44260</c:v>
                </c:pt>
                <c:pt idx="181">
                  <c:v>44261</c:v>
                </c:pt>
                <c:pt idx="182">
                  <c:v>44262</c:v>
                </c:pt>
                <c:pt idx="183">
                  <c:v>44263</c:v>
                </c:pt>
                <c:pt idx="184">
                  <c:v>44264</c:v>
                </c:pt>
                <c:pt idx="185">
                  <c:v>44265</c:v>
                </c:pt>
                <c:pt idx="186">
                  <c:v>44266</c:v>
                </c:pt>
                <c:pt idx="187">
                  <c:v>44267</c:v>
                </c:pt>
                <c:pt idx="188">
                  <c:v>44268</c:v>
                </c:pt>
                <c:pt idx="189">
                  <c:v>44269</c:v>
                </c:pt>
                <c:pt idx="190">
                  <c:v>44270</c:v>
                </c:pt>
                <c:pt idx="191">
                  <c:v>44271</c:v>
                </c:pt>
                <c:pt idx="192">
                  <c:v>44272</c:v>
                </c:pt>
                <c:pt idx="193">
                  <c:v>44273</c:v>
                </c:pt>
                <c:pt idx="194">
                  <c:v>44274</c:v>
                </c:pt>
                <c:pt idx="195">
                  <c:v>44275</c:v>
                </c:pt>
                <c:pt idx="196">
                  <c:v>44276</c:v>
                </c:pt>
                <c:pt idx="197">
                  <c:v>44277</c:v>
                </c:pt>
                <c:pt idx="198">
                  <c:v>44278</c:v>
                </c:pt>
                <c:pt idx="199">
                  <c:v>44279</c:v>
                </c:pt>
                <c:pt idx="200">
                  <c:v>44280</c:v>
                </c:pt>
                <c:pt idx="201">
                  <c:v>44281</c:v>
                </c:pt>
                <c:pt idx="202">
                  <c:v>44282</c:v>
                </c:pt>
                <c:pt idx="203">
                  <c:v>44283</c:v>
                </c:pt>
                <c:pt idx="204">
                  <c:v>44284</c:v>
                </c:pt>
                <c:pt idx="205">
                  <c:v>44285</c:v>
                </c:pt>
                <c:pt idx="206">
                  <c:v>44286</c:v>
                </c:pt>
                <c:pt idx="207">
                  <c:v>44287</c:v>
                </c:pt>
                <c:pt idx="208">
                  <c:v>44288</c:v>
                </c:pt>
                <c:pt idx="209">
                  <c:v>44289</c:v>
                </c:pt>
                <c:pt idx="210">
                  <c:v>44290</c:v>
                </c:pt>
                <c:pt idx="211">
                  <c:v>44291</c:v>
                </c:pt>
                <c:pt idx="212">
                  <c:v>44292</c:v>
                </c:pt>
                <c:pt idx="213">
                  <c:v>44293</c:v>
                </c:pt>
                <c:pt idx="214">
                  <c:v>44294</c:v>
                </c:pt>
                <c:pt idx="215">
                  <c:v>44295</c:v>
                </c:pt>
                <c:pt idx="216">
                  <c:v>44296</c:v>
                </c:pt>
                <c:pt idx="217">
                  <c:v>44297</c:v>
                </c:pt>
                <c:pt idx="218">
                  <c:v>44298</c:v>
                </c:pt>
                <c:pt idx="219">
                  <c:v>44299</c:v>
                </c:pt>
                <c:pt idx="220">
                  <c:v>44300</c:v>
                </c:pt>
                <c:pt idx="221">
                  <c:v>44301</c:v>
                </c:pt>
                <c:pt idx="222">
                  <c:v>44302</c:v>
                </c:pt>
                <c:pt idx="223">
                  <c:v>44303</c:v>
                </c:pt>
                <c:pt idx="224">
                  <c:v>44304</c:v>
                </c:pt>
                <c:pt idx="225">
                  <c:v>44305</c:v>
                </c:pt>
                <c:pt idx="226">
                  <c:v>44306</c:v>
                </c:pt>
                <c:pt idx="227">
                  <c:v>44307</c:v>
                </c:pt>
                <c:pt idx="228">
                  <c:v>44308</c:v>
                </c:pt>
                <c:pt idx="229">
                  <c:v>44309</c:v>
                </c:pt>
                <c:pt idx="230">
                  <c:v>44310</c:v>
                </c:pt>
                <c:pt idx="231">
                  <c:v>44312</c:v>
                </c:pt>
                <c:pt idx="232">
                  <c:v>44313</c:v>
                </c:pt>
                <c:pt idx="233">
                  <c:v>44314</c:v>
                </c:pt>
                <c:pt idx="234">
                  <c:v>44315</c:v>
                </c:pt>
                <c:pt idx="235">
                  <c:v>44316</c:v>
                </c:pt>
                <c:pt idx="236">
                  <c:v>44318</c:v>
                </c:pt>
                <c:pt idx="237">
                  <c:v>44319</c:v>
                </c:pt>
                <c:pt idx="238">
                  <c:v>44320</c:v>
                </c:pt>
                <c:pt idx="239">
                  <c:v>44321</c:v>
                </c:pt>
                <c:pt idx="240">
                  <c:v>44322</c:v>
                </c:pt>
                <c:pt idx="241">
                  <c:v>44323</c:v>
                </c:pt>
                <c:pt idx="242">
                  <c:v>44324</c:v>
                </c:pt>
                <c:pt idx="243">
                  <c:v>44325</c:v>
                </c:pt>
                <c:pt idx="244">
                  <c:v>44326</c:v>
                </c:pt>
                <c:pt idx="245">
                  <c:v>44327</c:v>
                </c:pt>
                <c:pt idx="246">
                  <c:v>44329</c:v>
                </c:pt>
                <c:pt idx="247">
                  <c:v>44330</c:v>
                </c:pt>
                <c:pt idx="248">
                  <c:v>44331</c:v>
                </c:pt>
                <c:pt idx="249">
                  <c:v>44333</c:v>
                </c:pt>
                <c:pt idx="250">
                  <c:v>44334</c:v>
                </c:pt>
                <c:pt idx="251">
                  <c:v>44335</c:v>
                </c:pt>
                <c:pt idx="252">
                  <c:v>44336</c:v>
                </c:pt>
                <c:pt idx="253">
                  <c:v>44337</c:v>
                </c:pt>
                <c:pt idx="254">
                  <c:v>44340</c:v>
                </c:pt>
                <c:pt idx="255">
                  <c:v>44341</c:v>
                </c:pt>
                <c:pt idx="256">
                  <c:v>44342</c:v>
                </c:pt>
                <c:pt idx="257">
                  <c:v>44343</c:v>
                </c:pt>
                <c:pt idx="258">
                  <c:v>44349</c:v>
                </c:pt>
                <c:pt idx="259">
                  <c:v>44350</c:v>
                </c:pt>
                <c:pt idx="260">
                  <c:v>44358</c:v>
                </c:pt>
                <c:pt idx="261">
                  <c:v>44364</c:v>
                </c:pt>
                <c:pt idx="262">
                  <c:v>44370</c:v>
                </c:pt>
                <c:pt idx="263">
                  <c:v>44371</c:v>
                </c:pt>
                <c:pt idx="264">
                  <c:v>44377</c:v>
                </c:pt>
                <c:pt idx="265">
                  <c:v>44378</c:v>
                </c:pt>
                <c:pt idx="266">
                  <c:v>44381</c:v>
                </c:pt>
                <c:pt idx="267">
                  <c:v>44385</c:v>
                </c:pt>
                <c:pt idx="268">
                  <c:v>44388</c:v>
                </c:pt>
                <c:pt idx="269">
                  <c:v>44398</c:v>
                </c:pt>
                <c:pt idx="270">
                  <c:v>44401</c:v>
                </c:pt>
                <c:pt idx="271">
                  <c:v>44404</c:v>
                </c:pt>
                <c:pt idx="272">
                  <c:v>44405</c:v>
                </c:pt>
                <c:pt idx="273">
                  <c:v>44416</c:v>
                </c:pt>
                <c:pt idx="274">
                  <c:v>44419</c:v>
                </c:pt>
                <c:pt idx="275">
                  <c:v>44424</c:v>
                </c:pt>
                <c:pt idx="276">
                  <c:v>44425</c:v>
                </c:pt>
                <c:pt idx="277">
                  <c:v>44427</c:v>
                </c:pt>
                <c:pt idx="278">
                  <c:v>44431</c:v>
                </c:pt>
                <c:pt idx="279">
                  <c:v>44434</c:v>
                </c:pt>
                <c:pt idx="280">
                  <c:v>44435</c:v>
                </c:pt>
                <c:pt idx="281">
                  <c:v>44436</c:v>
                </c:pt>
                <c:pt idx="282">
                  <c:v>44440</c:v>
                </c:pt>
                <c:pt idx="283">
                  <c:v>44441</c:v>
                </c:pt>
                <c:pt idx="284">
                  <c:v>44442</c:v>
                </c:pt>
                <c:pt idx="285">
                  <c:v>44443</c:v>
                </c:pt>
                <c:pt idx="286">
                  <c:v>44445</c:v>
                </c:pt>
                <c:pt idx="287">
                  <c:v>44446</c:v>
                </c:pt>
                <c:pt idx="288">
                  <c:v>44447</c:v>
                </c:pt>
                <c:pt idx="289">
                  <c:v>44448</c:v>
                </c:pt>
                <c:pt idx="290">
                  <c:v>44451</c:v>
                </c:pt>
                <c:pt idx="291">
                  <c:v>44452</c:v>
                </c:pt>
                <c:pt idx="292">
                  <c:v>44453</c:v>
                </c:pt>
                <c:pt idx="293">
                  <c:v>44457</c:v>
                </c:pt>
                <c:pt idx="294">
                  <c:v>44459</c:v>
                </c:pt>
                <c:pt idx="295">
                  <c:v>44460</c:v>
                </c:pt>
                <c:pt idx="296">
                  <c:v>44461</c:v>
                </c:pt>
                <c:pt idx="297">
                  <c:v>44464</c:v>
                </c:pt>
                <c:pt idx="298">
                  <c:v>44465</c:v>
                </c:pt>
                <c:pt idx="299">
                  <c:v>44466</c:v>
                </c:pt>
                <c:pt idx="300">
                  <c:v>44467</c:v>
                </c:pt>
                <c:pt idx="301">
                  <c:v>44468</c:v>
                </c:pt>
                <c:pt idx="302">
                  <c:v>44469</c:v>
                </c:pt>
                <c:pt idx="303">
                  <c:v>44470</c:v>
                </c:pt>
                <c:pt idx="304">
                  <c:v>44471</c:v>
                </c:pt>
                <c:pt idx="305">
                  <c:v>44472</c:v>
                </c:pt>
                <c:pt idx="306">
                  <c:v>44473</c:v>
                </c:pt>
                <c:pt idx="307">
                  <c:v>44474</c:v>
                </c:pt>
                <c:pt idx="308">
                  <c:v>44475</c:v>
                </c:pt>
                <c:pt idx="309">
                  <c:v>44476</c:v>
                </c:pt>
                <c:pt idx="310">
                  <c:v>44477</c:v>
                </c:pt>
                <c:pt idx="311">
                  <c:v>44478</c:v>
                </c:pt>
                <c:pt idx="312">
                  <c:v>44480</c:v>
                </c:pt>
                <c:pt idx="313">
                  <c:v>44481</c:v>
                </c:pt>
                <c:pt idx="314">
                  <c:v>44482</c:v>
                </c:pt>
                <c:pt idx="315">
                  <c:v>44483</c:v>
                </c:pt>
                <c:pt idx="316">
                  <c:v>44484</c:v>
                </c:pt>
                <c:pt idx="317">
                  <c:v>44485</c:v>
                </c:pt>
                <c:pt idx="318">
                  <c:v>44486</c:v>
                </c:pt>
                <c:pt idx="319">
                  <c:v>44487</c:v>
                </c:pt>
                <c:pt idx="320">
                  <c:v>44488</c:v>
                </c:pt>
                <c:pt idx="321">
                  <c:v>44489</c:v>
                </c:pt>
                <c:pt idx="322">
                  <c:v>44490</c:v>
                </c:pt>
                <c:pt idx="323">
                  <c:v>44491</c:v>
                </c:pt>
                <c:pt idx="324">
                  <c:v>44492</c:v>
                </c:pt>
                <c:pt idx="325">
                  <c:v>44493</c:v>
                </c:pt>
                <c:pt idx="326">
                  <c:v>44494</c:v>
                </c:pt>
                <c:pt idx="327">
                  <c:v>44495</c:v>
                </c:pt>
                <c:pt idx="328">
                  <c:v>44496</c:v>
                </c:pt>
                <c:pt idx="329">
                  <c:v>44497</c:v>
                </c:pt>
                <c:pt idx="330">
                  <c:v>44498</c:v>
                </c:pt>
                <c:pt idx="331">
                  <c:v>44499</c:v>
                </c:pt>
                <c:pt idx="332">
                  <c:v>44500</c:v>
                </c:pt>
                <c:pt idx="333">
                  <c:v>44501</c:v>
                </c:pt>
                <c:pt idx="334">
                  <c:v>44502</c:v>
                </c:pt>
                <c:pt idx="335">
                  <c:v>44503</c:v>
                </c:pt>
                <c:pt idx="336">
                  <c:v>44504</c:v>
                </c:pt>
                <c:pt idx="337">
                  <c:v>44505</c:v>
                </c:pt>
                <c:pt idx="338">
                  <c:v>44506</c:v>
                </c:pt>
                <c:pt idx="339">
                  <c:v>44507</c:v>
                </c:pt>
                <c:pt idx="340">
                  <c:v>44508</c:v>
                </c:pt>
                <c:pt idx="341">
                  <c:v>44509</c:v>
                </c:pt>
                <c:pt idx="342">
                  <c:v>44510</c:v>
                </c:pt>
                <c:pt idx="343">
                  <c:v>44511</c:v>
                </c:pt>
                <c:pt idx="344">
                  <c:v>44512</c:v>
                </c:pt>
                <c:pt idx="345">
                  <c:v>44513</c:v>
                </c:pt>
                <c:pt idx="346">
                  <c:v>44514</c:v>
                </c:pt>
                <c:pt idx="347">
                  <c:v>44515</c:v>
                </c:pt>
                <c:pt idx="348">
                  <c:v>44516</c:v>
                </c:pt>
                <c:pt idx="349">
                  <c:v>44517</c:v>
                </c:pt>
                <c:pt idx="350">
                  <c:v>44518</c:v>
                </c:pt>
                <c:pt idx="351">
                  <c:v>44519</c:v>
                </c:pt>
                <c:pt idx="352">
                  <c:v>44520</c:v>
                </c:pt>
                <c:pt idx="353">
                  <c:v>44521</c:v>
                </c:pt>
                <c:pt idx="354">
                  <c:v>44522</c:v>
                </c:pt>
                <c:pt idx="355">
                  <c:v>44523</c:v>
                </c:pt>
                <c:pt idx="356">
                  <c:v>44524</c:v>
                </c:pt>
                <c:pt idx="357">
                  <c:v>44525</c:v>
                </c:pt>
                <c:pt idx="358">
                  <c:v>44526</c:v>
                </c:pt>
                <c:pt idx="359">
                  <c:v>44527</c:v>
                </c:pt>
                <c:pt idx="360">
                  <c:v>44528</c:v>
                </c:pt>
                <c:pt idx="361">
                  <c:v>44529</c:v>
                </c:pt>
                <c:pt idx="362">
                  <c:v>44530</c:v>
                </c:pt>
                <c:pt idx="363">
                  <c:v>44531</c:v>
                </c:pt>
                <c:pt idx="364">
                  <c:v>44532</c:v>
                </c:pt>
                <c:pt idx="365">
                  <c:v>44533</c:v>
                </c:pt>
                <c:pt idx="366">
                  <c:v>44534</c:v>
                </c:pt>
                <c:pt idx="367">
                  <c:v>44535</c:v>
                </c:pt>
                <c:pt idx="368">
                  <c:v>44536</c:v>
                </c:pt>
                <c:pt idx="369">
                  <c:v>44537</c:v>
                </c:pt>
                <c:pt idx="370">
                  <c:v>44538</c:v>
                </c:pt>
                <c:pt idx="371">
                  <c:v>44539</c:v>
                </c:pt>
                <c:pt idx="372">
                  <c:v>44540</c:v>
                </c:pt>
                <c:pt idx="373">
                  <c:v>44541</c:v>
                </c:pt>
                <c:pt idx="374">
                  <c:v>44542</c:v>
                </c:pt>
                <c:pt idx="375">
                  <c:v>44543</c:v>
                </c:pt>
                <c:pt idx="376">
                  <c:v>44544</c:v>
                </c:pt>
                <c:pt idx="377">
                  <c:v>44545</c:v>
                </c:pt>
                <c:pt idx="378">
                  <c:v>44546</c:v>
                </c:pt>
                <c:pt idx="379">
                  <c:v>44547</c:v>
                </c:pt>
                <c:pt idx="380">
                  <c:v>44548</c:v>
                </c:pt>
                <c:pt idx="381">
                  <c:v>44549</c:v>
                </c:pt>
                <c:pt idx="382">
                  <c:v>44550</c:v>
                </c:pt>
                <c:pt idx="383">
                  <c:v>44551</c:v>
                </c:pt>
                <c:pt idx="384">
                  <c:v>44552</c:v>
                </c:pt>
                <c:pt idx="385">
                  <c:v>44553</c:v>
                </c:pt>
                <c:pt idx="386">
                  <c:v>44554</c:v>
                </c:pt>
                <c:pt idx="387">
                  <c:v>44555</c:v>
                </c:pt>
                <c:pt idx="388">
                  <c:v>44556</c:v>
                </c:pt>
                <c:pt idx="389">
                  <c:v>44557</c:v>
                </c:pt>
                <c:pt idx="390">
                  <c:v>44558</c:v>
                </c:pt>
                <c:pt idx="391">
                  <c:v>44559</c:v>
                </c:pt>
                <c:pt idx="392">
                  <c:v>44560</c:v>
                </c:pt>
                <c:pt idx="393">
                  <c:v>44561</c:v>
                </c:pt>
                <c:pt idx="394">
                  <c:v>44562</c:v>
                </c:pt>
                <c:pt idx="395">
                  <c:v>44563</c:v>
                </c:pt>
                <c:pt idx="396">
                  <c:v>44564</c:v>
                </c:pt>
                <c:pt idx="397">
                  <c:v>44565</c:v>
                </c:pt>
                <c:pt idx="398">
                  <c:v>44566</c:v>
                </c:pt>
                <c:pt idx="399">
                  <c:v>44567</c:v>
                </c:pt>
                <c:pt idx="400">
                  <c:v>44568</c:v>
                </c:pt>
                <c:pt idx="401">
                  <c:v>44569</c:v>
                </c:pt>
                <c:pt idx="402">
                  <c:v>44570</c:v>
                </c:pt>
                <c:pt idx="403">
                  <c:v>44571</c:v>
                </c:pt>
                <c:pt idx="404">
                  <c:v>44572</c:v>
                </c:pt>
                <c:pt idx="405">
                  <c:v>44573</c:v>
                </c:pt>
                <c:pt idx="406">
                  <c:v>44574</c:v>
                </c:pt>
                <c:pt idx="407">
                  <c:v>44575</c:v>
                </c:pt>
              </c:numCache>
            </c:numRef>
          </c:cat>
          <c:val>
            <c:numRef>
              <c:f>Sheet1!$B$2:$B$409</c:f>
              <c:numCache>
                <c:formatCode>General</c:formatCode>
                <c:ptCount val="408"/>
                <c:pt idx="0">
                  <c:v>0</c:v>
                </c:pt>
                <c:pt idx="1">
                  <c:v>0</c:v>
                </c:pt>
                <c:pt idx="2">
                  <c:v>1</c:v>
                </c:pt>
                <c:pt idx="3">
                  <c:v>1</c:v>
                </c:pt>
                <c:pt idx="4">
                  <c:v>0</c:v>
                </c:pt>
                <c:pt idx="5">
                  <c:v>0</c:v>
                </c:pt>
                <c:pt idx="6">
                  <c:v>1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1</c:v>
                </c:pt>
                <c:pt idx="13">
                  <c:v>0</c:v>
                </c:pt>
                <c:pt idx="14">
                  <c:v>1</c:v>
                </c:pt>
                <c:pt idx="15">
                  <c:v>1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2</c:v>
                </c:pt>
                <c:pt idx="22">
                  <c:v>4</c:v>
                </c:pt>
                <c:pt idx="23">
                  <c:v>1</c:v>
                </c:pt>
                <c:pt idx="24">
                  <c:v>8</c:v>
                </c:pt>
                <c:pt idx="25">
                  <c:v>9</c:v>
                </c:pt>
                <c:pt idx="26">
                  <c:v>18</c:v>
                </c:pt>
                <c:pt idx="27">
                  <c:v>9</c:v>
                </c:pt>
                <c:pt idx="28">
                  <c:v>7</c:v>
                </c:pt>
                <c:pt idx="29">
                  <c:v>46</c:v>
                </c:pt>
                <c:pt idx="30">
                  <c:v>15</c:v>
                </c:pt>
                <c:pt idx="31">
                  <c:v>8</c:v>
                </c:pt>
                <c:pt idx="32">
                  <c:v>17</c:v>
                </c:pt>
                <c:pt idx="33">
                  <c:v>28</c:v>
                </c:pt>
                <c:pt idx="34">
                  <c:v>12</c:v>
                </c:pt>
                <c:pt idx="35">
                  <c:v>2</c:v>
                </c:pt>
                <c:pt idx="36">
                  <c:v>28</c:v>
                </c:pt>
                <c:pt idx="37">
                  <c:v>36</c:v>
                </c:pt>
                <c:pt idx="38">
                  <c:v>49</c:v>
                </c:pt>
                <c:pt idx="39">
                  <c:v>33</c:v>
                </c:pt>
                <c:pt idx="40">
                  <c:v>40</c:v>
                </c:pt>
                <c:pt idx="41">
                  <c:v>25</c:v>
                </c:pt>
                <c:pt idx="42">
                  <c:v>16</c:v>
                </c:pt>
                <c:pt idx="43">
                  <c:v>42</c:v>
                </c:pt>
                <c:pt idx="44">
                  <c:v>40</c:v>
                </c:pt>
                <c:pt idx="45">
                  <c:v>53</c:v>
                </c:pt>
                <c:pt idx="46">
                  <c:v>62</c:v>
                </c:pt>
                <c:pt idx="47">
                  <c:v>74</c:v>
                </c:pt>
                <c:pt idx="48">
                  <c:v>45</c:v>
                </c:pt>
                <c:pt idx="49">
                  <c:v>33</c:v>
                </c:pt>
                <c:pt idx="50">
                  <c:v>78</c:v>
                </c:pt>
                <c:pt idx="51">
                  <c:v>70</c:v>
                </c:pt>
                <c:pt idx="52">
                  <c:v>42</c:v>
                </c:pt>
                <c:pt idx="53">
                  <c:v>84</c:v>
                </c:pt>
                <c:pt idx="54">
                  <c:v>95</c:v>
                </c:pt>
                <c:pt idx="55">
                  <c:v>37</c:v>
                </c:pt>
                <c:pt idx="56">
                  <c:v>37</c:v>
                </c:pt>
                <c:pt idx="57">
                  <c:v>63</c:v>
                </c:pt>
                <c:pt idx="58">
                  <c:v>63</c:v>
                </c:pt>
                <c:pt idx="59">
                  <c:v>64</c:v>
                </c:pt>
                <c:pt idx="60">
                  <c:v>78</c:v>
                </c:pt>
                <c:pt idx="61">
                  <c:v>84</c:v>
                </c:pt>
                <c:pt idx="62">
                  <c:v>31</c:v>
                </c:pt>
                <c:pt idx="63">
                  <c:v>16</c:v>
                </c:pt>
                <c:pt idx="64">
                  <c:v>53</c:v>
                </c:pt>
                <c:pt idx="65">
                  <c:v>72</c:v>
                </c:pt>
                <c:pt idx="66">
                  <c:v>118</c:v>
                </c:pt>
                <c:pt idx="67">
                  <c:v>91</c:v>
                </c:pt>
                <c:pt idx="68">
                  <c:v>79</c:v>
                </c:pt>
                <c:pt idx="69">
                  <c:v>43</c:v>
                </c:pt>
                <c:pt idx="70">
                  <c:v>23</c:v>
                </c:pt>
                <c:pt idx="71">
                  <c:v>65</c:v>
                </c:pt>
                <c:pt idx="72">
                  <c:v>26</c:v>
                </c:pt>
                <c:pt idx="73">
                  <c:v>47</c:v>
                </c:pt>
                <c:pt idx="74">
                  <c:v>59</c:v>
                </c:pt>
                <c:pt idx="75">
                  <c:v>50</c:v>
                </c:pt>
                <c:pt idx="76">
                  <c:v>20</c:v>
                </c:pt>
                <c:pt idx="77">
                  <c:v>13</c:v>
                </c:pt>
                <c:pt idx="78">
                  <c:v>67</c:v>
                </c:pt>
                <c:pt idx="79">
                  <c:v>40</c:v>
                </c:pt>
                <c:pt idx="80">
                  <c:v>25</c:v>
                </c:pt>
                <c:pt idx="81">
                  <c:v>34</c:v>
                </c:pt>
                <c:pt idx="82">
                  <c:v>27</c:v>
                </c:pt>
                <c:pt idx="83">
                  <c:v>15</c:v>
                </c:pt>
                <c:pt idx="84">
                  <c:v>13</c:v>
                </c:pt>
                <c:pt idx="85">
                  <c:v>41</c:v>
                </c:pt>
                <c:pt idx="86">
                  <c:v>33</c:v>
                </c:pt>
                <c:pt idx="87">
                  <c:v>27</c:v>
                </c:pt>
                <c:pt idx="88">
                  <c:v>22</c:v>
                </c:pt>
                <c:pt idx="89">
                  <c:v>36</c:v>
                </c:pt>
                <c:pt idx="90">
                  <c:v>19</c:v>
                </c:pt>
                <c:pt idx="91">
                  <c:v>10</c:v>
                </c:pt>
                <c:pt idx="92">
                  <c:v>34</c:v>
                </c:pt>
                <c:pt idx="93">
                  <c:v>28</c:v>
                </c:pt>
                <c:pt idx="94">
                  <c:v>33</c:v>
                </c:pt>
                <c:pt idx="95">
                  <c:v>24</c:v>
                </c:pt>
                <c:pt idx="96">
                  <c:v>33</c:v>
                </c:pt>
                <c:pt idx="97">
                  <c:v>18</c:v>
                </c:pt>
                <c:pt idx="98">
                  <c:v>24</c:v>
                </c:pt>
                <c:pt idx="99">
                  <c:v>36</c:v>
                </c:pt>
                <c:pt idx="100">
                  <c:v>26</c:v>
                </c:pt>
                <c:pt idx="101">
                  <c:v>27</c:v>
                </c:pt>
                <c:pt idx="102">
                  <c:v>14</c:v>
                </c:pt>
                <c:pt idx="103">
                  <c:v>39</c:v>
                </c:pt>
                <c:pt idx="104">
                  <c:v>15</c:v>
                </c:pt>
                <c:pt idx="105">
                  <c:v>6</c:v>
                </c:pt>
                <c:pt idx="106">
                  <c:v>30</c:v>
                </c:pt>
                <c:pt idx="107">
                  <c:v>41</c:v>
                </c:pt>
                <c:pt idx="108">
                  <c:v>21</c:v>
                </c:pt>
                <c:pt idx="109">
                  <c:v>5</c:v>
                </c:pt>
                <c:pt idx="110">
                  <c:v>21</c:v>
                </c:pt>
                <c:pt idx="111">
                  <c:v>17</c:v>
                </c:pt>
                <c:pt idx="112">
                  <c:v>19</c:v>
                </c:pt>
                <c:pt idx="113">
                  <c:v>20</c:v>
                </c:pt>
                <c:pt idx="114">
                  <c:v>44</c:v>
                </c:pt>
                <c:pt idx="115">
                  <c:v>25</c:v>
                </c:pt>
                <c:pt idx="116">
                  <c:v>36</c:v>
                </c:pt>
                <c:pt idx="117">
                  <c:v>19</c:v>
                </c:pt>
                <c:pt idx="118">
                  <c:v>14</c:v>
                </c:pt>
                <c:pt idx="119">
                  <c:v>5</c:v>
                </c:pt>
                <c:pt idx="120">
                  <c:v>32</c:v>
                </c:pt>
                <c:pt idx="121">
                  <c:v>30</c:v>
                </c:pt>
                <c:pt idx="122">
                  <c:v>36</c:v>
                </c:pt>
                <c:pt idx="123">
                  <c:v>40</c:v>
                </c:pt>
                <c:pt idx="124">
                  <c:v>33</c:v>
                </c:pt>
                <c:pt idx="125">
                  <c:v>15</c:v>
                </c:pt>
                <c:pt idx="126">
                  <c:v>8</c:v>
                </c:pt>
                <c:pt idx="127">
                  <c:v>52</c:v>
                </c:pt>
                <c:pt idx="128">
                  <c:v>24</c:v>
                </c:pt>
                <c:pt idx="129">
                  <c:v>22</c:v>
                </c:pt>
                <c:pt idx="130">
                  <c:v>13</c:v>
                </c:pt>
                <c:pt idx="131">
                  <c:v>20</c:v>
                </c:pt>
                <c:pt idx="132">
                  <c:v>12</c:v>
                </c:pt>
                <c:pt idx="133">
                  <c:v>15</c:v>
                </c:pt>
                <c:pt idx="134">
                  <c:v>29</c:v>
                </c:pt>
                <c:pt idx="135">
                  <c:v>23</c:v>
                </c:pt>
                <c:pt idx="136">
                  <c:v>38</c:v>
                </c:pt>
                <c:pt idx="137">
                  <c:v>23</c:v>
                </c:pt>
                <c:pt idx="138">
                  <c:v>21</c:v>
                </c:pt>
                <c:pt idx="139">
                  <c:v>7</c:v>
                </c:pt>
                <c:pt idx="140">
                  <c:v>9</c:v>
                </c:pt>
                <c:pt idx="141">
                  <c:v>21</c:v>
                </c:pt>
                <c:pt idx="142">
                  <c:v>12</c:v>
                </c:pt>
                <c:pt idx="143">
                  <c:v>21</c:v>
                </c:pt>
                <c:pt idx="144">
                  <c:v>11</c:v>
                </c:pt>
                <c:pt idx="145">
                  <c:v>8</c:v>
                </c:pt>
                <c:pt idx="146">
                  <c:v>10</c:v>
                </c:pt>
                <c:pt idx="147">
                  <c:v>5</c:v>
                </c:pt>
                <c:pt idx="148">
                  <c:v>21</c:v>
                </c:pt>
                <c:pt idx="149">
                  <c:v>20</c:v>
                </c:pt>
                <c:pt idx="150">
                  <c:v>13</c:v>
                </c:pt>
                <c:pt idx="151">
                  <c:v>20</c:v>
                </c:pt>
                <c:pt idx="152">
                  <c:v>15</c:v>
                </c:pt>
                <c:pt idx="153">
                  <c:v>5</c:v>
                </c:pt>
                <c:pt idx="154">
                  <c:v>5</c:v>
                </c:pt>
                <c:pt idx="155">
                  <c:v>14</c:v>
                </c:pt>
                <c:pt idx="156">
                  <c:v>15</c:v>
                </c:pt>
                <c:pt idx="157">
                  <c:v>16</c:v>
                </c:pt>
                <c:pt idx="158">
                  <c:v>11</c:v>
                </c:pt>
                <c:pt idx="159">
                  <c:v>13</c:v>
                </c:pt>
                <c:pt idx="160">
                  <c:v>2</c:v>
                </c:pt>
                <c:pt idx="161">
                  <c:v>3</c:v>
                </c:pt>
                <c:pt idx="162">
                  <c:v>8</c:v>
                </c:pt>
                <c:pt idx="163">
                  <c:v>7</c:v>
                </c:pt>
                <c:pt idx="164">
                  <c:v>7</c:v>
                </c:pt>
                <c:pt idx="165">
                  <c:v>9</c:v>
                </c:pt>
                <c:pt idx="166">
                  <c:v>5</c:v>
                </c:pt>
                <c:pt idx="167">
                  <c:v>10</c:v>
                </c:pt>
                <c:pt idx="168">
                  <c:v>3</c:v>
                </c:pt>
                <c:pt idx="169">
                  <c:v>21</c:v>
                </c:pt>
                <c:pt idx="170">
                  <c:v>15</c:v>
                </c:pt>
                <c:pt idx="171">
                  <c:v>7</c:v>
                </c:pt>
                <c:pt idx="172">
                  <c:v>11</c:v>
                </c:pt>
                <c:pt idx="173">
                  <c:v>7</c:v>
                </c:pt>
                <c:pt idx="174">
                  <c:v>3</c:v>
                </c:pt>
                <c:pt idx="175">
                  <c:v>1</c:v>
                </c:pt>
                <c:pt idx="176">
                  <c:v>10</c:v>
                </c:pt>
                <c:pt idx="177">
                  <c:v>7</c:v>
                </c:pt>
                <c:pt idx="178">
                  <c:v>8</c:v>
                </c:pt>
                <c:pt idx="179">
                  <c:v>4</c:v>
                </c:pt>
                <c:pt idx="180">
                  <c:v>7</c:v>
                </c:pt>
                <c:pt idx="181">
                  <c:v>2</c:v>
                </c:pt>
                <c:pt idx="182">
                  <c:v>3</c:v>
                </c:pt>
                <c:pt idx="183">
                  <c:v>6</c:v>
                </c:pt>
                <c:pt idx="184">
                  <c:v>8</c:v>
                </c:pt>
                <c:pt idx="185">
                  <c:v>10</c:v>
                </c:pt>
                <c:pt idx="186">
                  <c:v>3</c:v>
                </c:pt>
                <c:pt idx="187">
                  <c:v>5</c:v>
                </c:pt>
                <c:pt idx="188">
                  <c:v>5</c:v>
                </c:pt>
                <c:pt idx="189">
                  <c:v>3</c:v>
                </c:pt>
                <c:pt idx="190">
                  <c:v>10</c:v>
                </c:pt>
                <c:pt idx="191">
                  <c:v>9</c:v>
                </c:pt>
                <c:pt idx="192">
                  <c:v>2</c:v>
                </c:pt>
                <c:pt idx="193">
                  <c:v>8</c:v>
                </c:pt>
                <c:pt idx="194">
                  <c:v>11</c:v>
                </c:pt>
                <c:pt idx="195">
                  <c:v>3</c:v>
                </c:pt>
                <c:pt idx="196">
                  <c:v>2</c:v>
                </c:pt>
                <c:pt idx="197">
                  <c:v>5</c:v>
                </c:pt>
                <c:pt idx="198">
                  <c:v>7</c:v>
                </c:pt>
                <c:pt idx="199">
                  <c:v>3</c:v>
                </c:pt>
                <c:pt idx="200">
                  <c:v>2</c:v>
                </c:pt>
                <c:pt idx="201">
                  <c:v>1</c:v>
                </c:pt>
                <c:pt idx="202">
                  <c:v>2</c:v>
                </c:pt>
                <c:pt idx="203">
                  <c:v>0</c:v>
                </c:pt>
                <c:pt idx="204">
                  <c:v>2</c:v>
                </c:pt>
                <c:pt idx="205">
                  <c:v>1</c:v>
                </c:pt>
                <c:pt idx="206">
                  <c:v>1</c:v>
                </c:pt>
                <c:pt idx="207">
                  <c:v>2</c:v>
                </c:pt>
                <c:pt idx="208">
                  <c:v>1</c:v>
                </c:pt>
                <c:pt idx="209">
                  <c:v>2</c:v>
                </c:pt>
                <c:pt idx="210">
                  <c:v>2</c:v>
                </c:pt>
                <c:pt idx="211">
                  <c:v>0</c:v>
                </c:pt>
                <c:pt idx="212">
                  <c:v>0</c:v>
                </c:pt>
                <c:pt idx="213">
                  <c:v>5</c:v>
                </c:pt>
                <c:pt idx="214">
                  <c:v>0</c:v>
                </c:pt>
                <c:pt idx="215">
                  <c:v>1</c:v>
                </c:pt>
                <c:pt idx="216">
                  <c:v>0</c:v>
                </c:pt>
                <c:pt idx="217">
                  <c:v>0</c:v>
                </c:pt>
                <c:pt idx="218">
                  <c:v>1</c:v>
                </c:pt>
                <c:pt idx="219">
                  <c:v>3</c:v>
                </c:pt>
                <c:pt idx="220">
                  <c:v>0</c:v>
                </c:pt>
                <c:pt idx="221">
                  <c:v>1</c:v>
                </c:pt>
                <c:pt idx="222">
                  <c:v>0</c:v>
                </c:pt>
                <c:pt idx="223">
                  <c:v>0</c:v>
                </c:pt>
                <c:pt idx="224">
                  <c:v>0</c:v>
                </c:pt>
                <c:pt idx="225">
                  <c:v>1</c:v>
                </c:pt>
                <c:pt idx="226">
                  <c:v>1</c:v>
                </c:pt>
                <c:pt idx="227">
                  <c:v>2</c:v>
                </c:pt>
                <c:pt idx="228">
                  <c:v>2</c:v>
                </c:pt>
                <c:pt idx="229">
                  <c:v>1</c:v>
                </c:pt>
                <c:pt idx="230">
                  <c:v>0</c:v>
                </c:pt>
                <c:pt idx="231">
                  <c:v>0</c:v>
                </c:pt>
                <c:pt idx="232">
                  <c:v>4</c:v>
                </c:pt>
                <c:pt idx="233">
                  <c:v>0</c:v>
                </c:pt>
                <c:pt idx="234">
                  <c:v>1</c:v>
                </c:pt>
                <c:pt idx="235">
                  <c:v>0</c:v>
                </c:pt>
                <c:pt idx="236">
                  <c:v>0</c:v>
                </c:pt>
                <c:pt idx="237">
                  <c:v>0</c:v>
                </c:pt>
                <c:pt idx="238">
                  <c:v>0</c:v>
                </c:pt>
                <c:pt idx="239">
                  <c:v>0</c:v>
                </c:pt>
                <c:pt idx="240">
                  <c:v>0</c:v>
                </c:pt>
                <c:pt idx="241">
                  <c:v>1</c:v>
                </c:pt>
                <c:pt idx="242">
                  <c:v>0</c:v>
                </c:pt>
                <c:pt idx="243">
                  <c:v>2</c:v>
                </c:pt>
                <c:pt idx="244">
                  <c:v>3</c:v>
                </c:pt>
                <c:pt idx="245">
                  <c:v>1</c:v>
                </c:pt>
                <c:pt idx="246">
                  <c:v>2</c:v>
                </c:pt>
                <c:pt idx="247">
                  <c:v>2</c:v>
                </c:pt>
                <c:pt idx="248">
                  <c:v>1</c:v>
                </c:pt>
                <c:pt idx="249">
                  <c:v>1</c:v>
                </c:pt>
                <c:pt idx="250">
                  <c:v>0</c:v>
                </c:pt>
                <c:pt idx="251">
                  <c:v>2</c:v>
                </c:pt>
                <c:pt idx="252">
                  <c:v>0</c:v>
                </c:pt>
                <c:pt idx="253">
                  <c:v>0</c:v>
                </c:pt>
                <c:pt idx="254">
                  <c:v>0</c:v>
                </c:pt>
                <c:pt idx="255">
                  <c:v>0</c:v>
                </c:pt>
                <c:pt idx="256">
                  <c:v>0</c:v>
                </c:pt>
                <c:pt idx="257">
                  <c:v>0</c:v>
                </c:pt>
                <c:pt idx="258">
                  <c:v>2</c:v>
                </c:pt>
                <c:pt idx="259">
                  <c:v>1</c:v>
                </c:pt>
                <c:pt idx="260">
                  <c:v>0</c:v>
                </c:pt>
                <c:pt idx="261">
                  <c:v>1</c:v>
                </c:pt>
                <c:pt idx="262">
                  <c:v>1</c:v>
                </c:pt>
                <c:pt idx="263">
                  <c:v>0</c:v>
                </c:pt>
                <c:pt idx="264">
                  <c:v>0</c:v>
                </c:pt>
                <c:pt idx="265">
                  <c:v>0</c:v>
                </c:pt>
                <c:pt idx="266">
                  <c:v>1</c:v>
                </c:pt>
                <c:pt idx="267">
                  <c:v>1</c:v>
                </c:pt>
                <c:pt idx="268">
                  <c:v>0</c:v>
                </c:pt>
                <c:pt idx="269">
                  <c:v>0</c:v>
                </c:pt>
                <c:pt idx="270">
                  <c:v>1</c:v>
                </c:pt>
                <c:pt idx="271">
                  <c:v>0</c:v>
                </c:pt>
                <c:pt idx="272">
                  <c:v>0</c:v>
                </c:pt>
                <c:pt idx="273">
                  <c:v>0</c:v>
                </c:pt>
                <c:pt idx="274">
                  <c:v>0</c:v>
                </c:pt>
                <c:pt idx="275">
                  <c:v>0</c:v>
                </c:pt>
                <c:pt idx="276">
                  <c:v>1</c:v>
                </c:pt>
                <c:pt idx="277">
                  <c:v>1</c:v>
                </c:pt>
                <c:pt idx="278">
                  <c:v>0</c:v>
                </c:pt>
                <c:pt idx="279">
                  <c:v>0</c:v>
                </c:pt>
                <c:pt idx="280">
                  <c:v>0</c:v>
                </c:pt>
                <c:pt idx="281">
                  <c:v>0</c:v>
                </c:pt>
                <c:pt idx="282">
                  <c:v>2</c:v>
                </c:pt>
                <c:pt idx="283">
                  <c:v>2</c:v>
                </c:pt>
                <c:pt idx="284">
                  <c:v>1</c:v>
                </c:pt>
                <c:pt idx="285">
                  <c:v>0</c:v>
                </c:pt>
                <c:pt idx="286">
                  <c:v>2</c:v>
                </c:pt>
                <c:pt idx="287">
                  <c:v>0</c:v>
                </c:pt>
                <c:pt idx="288">
                  <c:v>0</c:v>
                </c:pt>
                <c:pt idx="289">
                  <c:v>0</c:v>
                </c:pt>
                <c:pt idx="290">
                  <c:v>0</c:v>
                </c:pt>
                <c:pt idx="291">
                  <c:v>0</c:v>
                </c:pt>
                <c:pt idx="292">
                  <c:v>0</c:v>
                </c:pt>
                <c:pt idx="293">
                  <c:v>0</c:v>
                </c:pt>
                <c:pt idx="294">
                  <c:v>0</c:v>
                </c:pt>
                <c:pt idx="295">
                  <c:v>2</c:v>
                </c:pt>
                <c:pt idx="296">
                  <c:v>0</c:v>
                </c:pt>
                <c:pt idx="297">
                  <c:v>0</c:v>
                </c:pt>
                <c:pt idx="298">
                  <c:v>0</c:v>
                </c:pt>
                <c:pt idx="299">
                  <c:v>1</c:v>
                </c:pt>
                <c:pt idx="300">
                  <c:v>0</c:v>
                </c:pt>
                <c:pt idx="301">
                  <c:v>0</c:v>
                </c:pt>
                <c:pt idx="302">
                  <c:v>0</c:v>
                </c:pt>
                <c:pt idx="303">
                  <c:v>1</c:v>
                </c:pt>
                <c:pt idx="304">
                  <c:v>0</c:v>
                </c:pt>
                <c:pt idx="305">
                  <c:v>0</c:v>
                </c:pt>
                <c:pt idx="306">
                  <c:v>0</c:v>
                </c:pt>
                <c:pt idx="307">
                  <c:v>0</c:v>
                </c:pt>
                <c:pt idx="308">
                  <c:v>3</c:v>
                </c:pt>
                <c:pt idx="309">
                  <c:v>1</c:v>
                </c:pt>
                <c:pt idx="310">
                  <c:v>2</c:v>
                </c:pt>
                <c:pt idx="311">
                  <c:v>0</c:v>
                </c:pt>
                <c:pt idx="312">
                  <c:v>1</c:v>
                </c:pt>
                <c:pt idx="313">
                  <c:v>0</c:v>
                </c:pt>
                <c:pt idx="314">
                  <c:v>3</c:v>
                </c:pt>
                <c:pt idx="315">
                  <c:v>1</c:v>
                </c:pt>
                <c:pt idx="316">
                  <c:v>0</c:v>
                </c:pt>
                <c:pt idx="317">
                  <c:v>0</c:v>
                </c:pt>
                <c:pt idx="318">
                  <c:v>0</c:v>
                </c:pt>
                <c:pt idx="319">
                  <c:v>4</c:v>
                </c:pt>
                <c:pt idx="320">
                  <c:v>0</c:v>
                </c:pt>
                <c:pt idx="321">
                  <c:v>1</c:v>
                </c:pt>
                <c:pt idx="322">
                  <c:v>0</c:v>
                </c:pt>
                <c:pt idx="323">
                  <c:v>2</c:v>
                </c:pt>
                <c:pt idx="324">
                  <c:v>0</c:v>
                </c:pt>
                <c:pt idx="325">
                  <c:v>0</c:v>
                </c:pt>
                <c:pt idx="326">
                  <c:v>4</c:v>
                </c:pt>
                <c:pt idx="327">
                  <c:v>2</c:v>
                </c:pt>
                <c:pt idx="328">
                  <c:v>2</c:v>
                </c:pt>
                <c:pt idx="329">
                  <c:v>0</c:v>
                </c:pt>
                <c:pt idx="330">
                  <c:v>5</c:v>
                </c:pt>
                <c:pt idx="331">
                  <c:v>3</c:v>
                </c:pt>
                <c:pt idx="332">
                  <c:v>2</c:v>
                </c:pt>
                <c:pt idx="333">
                  <c:v>8</c:v>
                </c:pt>
                <c:pt idx="334">
                  <c:v>6</c:v>
                </c:pt>
                <c:pt idx="335">
                  <c:v>5</c:v>
                </c:pt>
                <c:pt idx="336">
                  <c:v>3</c:v>
                </c:pt>
                <c:pt idx="337">
                  <c:v>6</c:v>
                </c:pt>
                <c:pt idx="338">
                  <c:v>1</c:v>
                </c:pt>
                <c:pt idx="339">
                  <c:v>1</c:v>
                </c:pt>
                <c:pt idx="340">
                  <c:v>5</c:v>
                </c:pt>
                <c:pt idx="341">
                  <c:v>7</c:v>
                </c:pt>
                <c:pt idx="342">
                  <c:v>4</c:v>
                </c:pt>
                <c:pt idx="343">
                  <c:v>6</c:v>
                </c:pt>
                <c:pt idx="344">
                  <c:v>2</c:v>
                </c:pt>
                <c:pt idx="345">
                  <c:v>5</c:v>
                </c:pt>
                <c:pt idx="346">
                  <c:v>2</c:v>
                </c:pt>
                <c:pt idx="347">
                  <c:v>7</c:v>
                </c:pt>
                <c:pt idx="348">
                  <c:v>7</c:v>
                </c:pt>
                <c:pt idx="349">
                  <c:v>6</c:v>
                </c:pt>
                <c:pt idx="350">
                  <c:v>12</c:v>
                </c:pt>
                <c:pt idx="351">
                  <c:v>7</c:v>
                </c:pt>
                <c:pt idx="352">
                  <c:v>3</c:v>
                </c:pt>
                <c:pt idx="353">
                  <c:v>3</c:v>
                </c:pt>
                <c:pt idx="354">
                  <c:v>12</c:v>
                </c:pt>
                <c:pt idx="355">
                  <c:v>5</c:v>
                </c:pt>
                <c:pt idx="356">
                  <c:v>15</c:v>
                </c:pt>
                <c:pt idx="357">
                  <c:v>3</c:v>
                </c:pt>
                <c:pt idx="358">
                  <c:v>8</c:v>
                </c:pt>
                <c:pt idx="359">
                  <c:v>1</c:v>
                </c:pt>
                <c:pt idx="360">
                  <c:v>3</c:v>
                </c:pt>
                <c:pt idx="361">
                  <c:v>7</c:v>
                </c:pt>
                <c:pt idx="362">
                  <c:v>4</c:v>
                </c:pt>
                <c:pt idx="363">
                  <c:v>7</c:v>
                </c:pt>
                <c:pt idx="364">
                  <c:v>6</c:v>
                </c:pt>
                <c:pt idx="365">
                  <c:v>4</c:v>
                </c:pt>
                <c:pt idx="366">
                  <c:v>5</c:v>
                </c:pt>
                <c:pt idx="367">
                  <c:v>2</c:v>
                </c:pt>
                <c:pt idx="368">
                  <c:v>9</c:v>
                </c:pt>
                <c:pt idx="369">
                  <c:v>3</c:v>
                </c:pt>
                <c:pt idx="370">
                  <c:v>6</c:v>
                </c:pt>
                <c:pt idx="371">
                  <c:v>5</c:v>
                </c:pt>
                <c:pt idx="372">
                  <c:v>6</c:v>
                </c:pt>
                <c:pt idx="373">
                  <c:v>2</c:v>
                </c:pt>
                <c:pt idx="374">
                  <c:v>0</c:v>
                </c:pt>
                <c:pt idx="375">
                  <c:v>5</c:v>
                </c:pt>
                <c:pt idx="376">
                  <c:v>2</c:v>
                </c:pt>
                <c:pt idx="377">
                  <c:v>1</c:v>
                </c:pt>
                <c:pt idx="378">
                  <c:v>3</c:v>
                </c:pt>
                <c:pt idx="379">
                  <c:v>3</c:v>
                </c:pt>
                <c:pt idx="380">
                  <c:v>0</c:v>
                </c:pt>
                <c:pt idx="381">
                  <c:v>1</c:v>
                </c:pt>
                <c:pt idx="382">
                  <c:v>6</c:v>
                </c:pt>
                <c:pt idx="383">
                  <c:v>3</c:v>
                </c:pt>
                <c:pt idx="384">
                  <c:v>3</c:v>
                </c:pt>
                <c:pt idx="385">
                  <c:v>1</c:v>
                </c:pt>
                <c:pt idx="386">
                  <c:v>0</c:v>
                </c:pt>
                <c:pt idx="387">
                  <c:v>1</c:v>
                </c:pt>
                <c:pt idx="388">
                  <c:v>0</c:v>
                </c:pt>
                <c:pt idx="389">
                  <c:v>3</c:v>
                </c:pt>
                <c:pt idx="390">
                  <c:v>3</c:v>
                </c:pt>
                <c:pt idx="391">
                  <c:v>3</c:v>
                </c:pt>
                <c:pt idx="392">
                  <c:v>0</c:v>
                </c:pt>
                <c:pt idx="393">
                  <c:v>3</c:v>
                </c:pt>
                <c:pt idx="394">
                  <c:v>1</c:v>
                </c:pt>
                <c:pt idx="395">
                  <c:v>0</c:v>
                </c:pt>
                <c:pt idx="396">
                  <c:v>3</c:v>
                </c:pt>
                <c:pt idx="397">
                  <c:v>1</c:v>
                </c:pt>
                <c:pt idx="398">
                  <c:v>1</c:v>
                </c:pt>
                <c:pt idx="399">
                  <c:v>0</c:v>
                </c:pt>
                <c:pt idx="400">
                  <c:v>0</c:v>
                </c:pt>
                <c:pt idx="401">
                  <c:v>0</c:v>
                </c:pt>
                <c:pt idx="402">
                  <c:v>1</c:v>
                </c:pt>
                <c:pt idx="403">
                  <c:v>1</c:v>
                </c:pt>
                <c:pt idx="404">
                  <c:v>0</c:v>
                </c:pt>
                <c:pt idx="405">
                  <c:v>1</c:v>
                </c:pt>
                <c:pt idx="406">
                  <c:v>1</c:v>
                </c:pt>
                <c:pt idx="407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B3E-4315-A7FA-F141290FE6A0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loupec3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numRef>
              <c:f>Sheet1!$A$2:$A$409</c:f>
              <c:numCache>
                <c:formatCode>m/d/yyyy</c:formatCode>
                <c:ptCount val="408"/>
                <c:pt idx="0">
                  <c:v>44075</c:v>
                </c:pt>
                <c:pt idx="1">
                  <c:v>44078</c:v>
                </c:pt>
                <c:pt idx="2">
                  <c:v>44082</c:v>
                </c:pt>
                <c:pt idx="3">
                  <c:v>44083</c:v>
                </c:pt>
                <c:pt idx="4">
                  <c:v>44084</c:v>
                </c:pt>
                <c:pt idx="5">
                  <c:v>44085</c:v>
                </c:pt>
                <c:pt idx="6">
                  <c:v>44086</c:v>
                </c:pt>
                <c:pt idx="7">
                  <c:v>44087</c:v>
                </c:pt>
                <c:pt idx="8">
                  <c:v>44088</c:v>
                </c:pt>
                <c:pt idx="9">
                  <c:v>44089</c:v>
                </c:pt>
                <c:pt idx="10">
                  <c:v>44090</c:v>
                </c:pt>
                <c:pt idx="11">
                  <c:v>44091</c:v>
                </c:pt>
                <c:pt idx="12">
                  <c:v>44092</c:v>
                </c:pt>
                <c:pt idx="13">
                  <c:v>44093</c:v>
                </c:pt>
                <c:pt idx="14">
                  <c:v>44094</c:v>
                </c:pt>
                <c:pt idx="15">
                  <c:v>44095</c:v>
                </c:pt>
                <c:pt idx="16">
                  <c:v>44096</c:v>
                </c:pt>
                <c:pt idx="17">
                  <c:v>44097</c:v>
                </c:pt>
                <c:pt idx="18">
                  <c:v>44098</c:v>
                </c:pt>
                <c:pt idx="19">
                  <c:v>44099</c:v>
                </c:pt>
                <c:pt idx="20">
                  <c:v>44100</c:v>
                </c:pt>
                <c:pt idx="21">
                  <c:v>44101</c:v>
                </c:pt>
                <c:pt idx="22">
                  <c:v>44102</c:v>
                </c:pt>
                <c:pt idx="23">
                  <c:v>44103</c:v>
                </c:pt>
                <c:pt idx="24">
                  <c:v>44104</c:v>
                </c:pt>
                <c:pt idx="25">
                  <c:v>44105</c:v>
                </c:pt>
                <c:pt idx="26">
                  <c:v>44106</c:v>
                </c:pt>
                <c:pt idx="27">
                  <c:v>44107</c:v>
                </c:pt>
                <c:pt idx="28">
                  <c:v>44108</c:v>
                </c:pt>
                <c:pt idx="29">
                  <c:v>44109</c:v>
                </c:pt>
                <c:pt idx="30">
                  <c:v>44110</c:v>
                </c:pt>
                <c:pt idx="31">
                  <c:v>44111</c:v>
                </c:pt>
                <c:pt idx="32">
                  <c:v>44112</c:v>
                </c:pt>
                <c:pt idx="33">
                  <c:v>44113</c:v>
                </c:pt>
                <c:pt idx="34">
                  <c:v>44114</c:v>
                </c:pt>
                <c:pt idx="35">
                  <c:v>44115</c:v>
                </c:pt>
                <c:pt idx="36">
                  <c:v>44116</c:v>
                </c:pt>
                <c:pt idx="37">
                  <c:v>44117</c:v>
                </c:pt>
                <c:pt idx="38">
                  <c:v>44118</c:v>
                </c:pt>
                <c:pt idx="39">
                  <c:v>44119</c:v>
                </c:pt>
                <c:pt idx="40">
                  <c:v>44120</c:v>
                </c:pt>
                <c:pt idx="41">
                  <c:v>44121</c:v>
                </c:pt>
                <c:pt idx="42">
                  <c:v>44122</c:v>
                </c:pt>
                <c:pt idx="43">
                  <c:v>44123</c:v>
                </c:pt>
                <c:pt idx="44">
                  <c:v>44124</c:v>
                </c:pt>
                <c:pt idx="45">
                  <c:v>44125</c:v>
                </c:pt>
                <c:pt idx="46">
                  <c:v>44126</c:v>
                </c:pt>
                <c:pt idx="47">
                  <c:v>44127</c:v>
                </c:pt>
                <c:pt idx="48">
                  <c:v>44128</c:v>
                </c:pt>
                <c:pt idx="49">
                  <c:v>44129</c:v>
                </c:pt>
                <c:pt idx="50">
                  <c:v>44130</c:v>
                </c:pt>
                <c:pt idx="51">
                  <c:v>44131</c:v>
                </c:pt>
                <c:pt idx="52">
                  <c:v>44132</c:v>
                </c:pt>
                <c:pt idx="53">
                  <c:v>44133</c:v>
                </c:pt>
                <c:pt idx="54">
                  <c:v>44134</c:v>
                </c:pt>
                <c:pt idx="55">
                  <c:v>44135</c:v>
                </c:pt>
                <c:pt idx="56">
                  <c:v>44136</c:v>
                </c:pt>
                <c:pt idx="57">
                  <c:v>44137</c:v>
                </c:pt>
                <c:pt idx="58">
                  <c:v>44138</c:v>
                </c:pt>
                <c:pt idx="59">
                  <c:v>44139</c:v>
                </c:pt>
                <c:pt idx="60">
                  <c:v>44140</c:v>
                </c:pt>
                <c:pt idx="61">
                  <c:v>44141</c:v>
                </c:pt>
                <c:pt idx="62">
                  <c:v>44142</c:v>
                </c:pt>
                <c:pt idx="63">
                  <c:v>44143</c:v>
                </c:pt>
                <c:pt idx="64">
                  <c:v>44144</c:v>
                </c:pt>
                <c:pt idx="65">
                  <c:v>44145</c:v>
                </c:pt>
                <c:pt idx="66">
                  <c:v>44146</c:v>
                </c:pt>
                <c:pt idx="67">
                  <c:v>44147</c:v>
                </c:pt>
                <c:pt idx="68">
                  <c:v>44148</c:v>
                </c:pt>
                <c:pt idx="69">
                  <c:v>44149</c:v>
                </c:pt>
                <c:pt idx="70">
                  <c:v>44150</c:v>
                </c:pt>
                <c:pt idx="71">
                  <c:v>44151</c:v>
                </c:pt>
                <c:pt idx="72">
                  <c:v>44152</c:v>
                </c:pt>
                <c:pt idx="73">
                  <c:v>44153</c:v>
                </c:pt>
                <c:pt idx="74">
                  <c:v>44154</c:v>
                </c:pt>
                <c:pt idx="75">
                  <c:v>44155</c:v>
                </c:pt>
                <c:pt idx="76">
                  <c:v>44156</c:v>
                </c:pt>
                <c:pt idx="77">
                  <c:v>44157</c:v>
                </c:pt>
                <c:pt idx="78">
                  <c:v>44158</c:v>
                </c:pt>
                <c:pt idx="79">
                  <c:v>44159</c:v>
                </c:pt>
                <c:pt idx="80">
                  <c:v>44160</c:v>
                </c:pt>
                <c:pt idx="81">
                  <c:v>44161</c:v>
                </c:pt>
                <c:pt idx="82">
                  <c:v>44162</c:v>
                </c:pt>
                <c:pt idx="83">
                  <c:v>44163</c:v>
                </c:pt>
                <c:pt idx="84">
                  <c:v>44164</c:v>
                </c:pt>
                <c:pt idx="85">
                  <c:v>44165</c:v>
                </c:pt>
                <c:pt idx="86">
                  <c:v>44166</c:v>
                </c:pt>
                <c:pt idx="87">
                  <c:v>44167</c:v>
                </c:pt>
                <c:pt idx="88">
                  <c:v>44168</c:v>
                </c:pt>
                <c:pt idx="89">
                  <c:v>44169</c:v>
                </c:pt>
                <c:pt idx="90">
                  <c:v>44170</c:v>
                </c:pt>
                <c:pt idx="91">
                  <c:v>44171</c:v>
                </c:pt>
                <c:pt idx="92">
                  <c:v>44172</c:v>
                </c:pt>
                <c:pt idx="93">
                  <c:v>44173</c:v>
                </c:pt>
                <c:pt idx="94">
                  <c:v>44174</c:v>
                </c:pt>
                <c:pt idx="95">
                  <c:v>44175</c:v>
                </c:pt>
                <c:pt idx="96">
                  <c:v>44176</c:v>
                </c:pt>
                <c:pt idx="97">
                  <c:v>44177</c:v>
                </c:pt>
                <c:pt idx="98">
                  <c:v>44178</c:v>
                </c:pt>
                <c:pt idx="99">
                  <c:v>44179</c:v>
                </c:pt>
                <c:pt idx="100">
                  <c:v>44180</c:v>
                </c:pt>
                <c:pt idx="101">
                  <c:v>44181</c:v>
                </c:pt>
                <c:pt idx="102">
                  <c:v>44182</c:v>
                </c:pt>
                <c:pt idx="103">
                  <c:v>44183</c:v>
                </c:pt>
                <c:pt idx="104">
                  <c:v>44184</c:v>
                </c:pt>
                <c:pt idx="105">
                  <c:v>44185</c:v>
                </c:pt>
                <c:pt idx="106">
                  <c:v>44186</c:v>
                </c:pt>
                <c:pt idx="107">
                  <c:v>44187</c:v>
                </c:pt>
                <c:pt idx="108">
                  <c:v>44188</c:v>
                </c:pt>
                <c:pt idx="109">
                  <c:v>44189</c:v>
                </c:pt>
                <c:pt idx="110">
                  <c:v>44190</c:v>
                </c:pt>
                <c:pt idx="111">
                  <c:v>44191</c:v>
                </c:pt>
                <c:pt idx="112">
                  <c:v>44192</c:v>
                </c:pt>
                <c:pt idx="113">
                  <c:v>44193</c:v>
                </c:pt>
                <c:pt idx="114">
                  <c:v>44194</c:v>
                </c:pt>
                <c:pt idx="115">
                  <c:v>44195</c:v>
                </c:pt>
                <c:pt idx="116">
                  <c:v>44196</c:v>
                </c:pt>
                <c:pt idx="117">
                  <c:v>44197</c:v>
                </c:pt>
                <c:pt idx="118">
                  <c:v>44198</c:v>
                </c:pt>
                <c:pt idx="119">
                  <c:v>44199</c:v>
                </c:pt>
                <c:pt idx="120">
                  <c:v>44200</c:v>
                </c:pt>
                <c:pt idx="121">
                  <c:v>44201</c:v>
                </c:pt>
                <c:pt idx="122">
                  <c:v>44202</c:v>
                </c:pt>
                <c:pt idx="123">
                  <c:v>44203</c:v>
                </c:pt>
                <c:pt idx="124">
                  <c:v>44204</c:v>
                </c:pt>
                <c:pt idx="125">
                  <c:v>44205</c:v>
                </c:pt>
                <c:pt idx="126">
                  <c:v>44206</c:v>
                </c:pt>
                <c:pt idx="127">
                  <c:v>44207</c:v>
                </c:pt>
                <c:pt idx="128">
                  <c:v>44208</c:v>
                </c:pt>
                <c:pt idx="129">
                  <c:v>44209</c:v>
                </c:pt>
                <c:pt idx="130">
                  <c:v>44210</c:v>
                </c:pt>
                <c:pt idx="131">
                  <c:v>44211</c:v>
                </c:pt>
                <c:pt idx="132">
                  <c:v>44212</c:v>
                </c:pt>
                <c:pt idx="133">
                  <c:v>44213</c:v>
                </c:pt>
                <c:pt idx="134">
                  <c:v>44214</c:v>
                </c:pt>
                <c:pt idx="135">
                  <c:v>44215</c:v>
                </c:pt>
                <c:pt idx="136">
                  <c:v>44216</c:v>
                </c:pt>
                <c:pt idx="137">
                  <c:v>44217</c:v>
                </c:pt>
                <c:pt idx="138">
                  <c:v>44218</c:v>
                </c:pt>
                <c:pt idx="139">
                  <c:v>44219</c:v>
                </c:pt>
                <c:pt idx="140">
                  <c:v>44220</c:v>
                </c:pt>
                <c:pt idx="141">
                  <c:v>44221</c:v>
                </c:pt>
                <c:pt idx="142">
                  <c:v>44222</c:v>
                </c:pt>
                <c:pt idx="143">
                  <c:v>44223</c:v>
                </c:pt>
                <c:pt idx="144">
                  <c:v>44224</c:v>
                </c:pt>
                <c:pt idx="145">
                  <c:v>44225</c:v>
                </c:pt>
                <c:pt idx="146">
                  <c:v>44226</c:v>
                </c:pt>
                <c:pt idx="147">
                  <c:v>44227</c:v>
                </c:pt>
                <c:pt idx="148">
                  <c:v>44228</c:v>
                </c:pt>
                <c:pt idx="149">
                  <c:v>44229</c:v>
                </c:pt>
                <c:pt idx="150">
                  <c:v>44230</c:v>
                </c:pt>
                <c:pt idx="151">
                  <c:v>44231</c:v>
                </c:pt>
                <c:pt idx="152">
                  <c:v>44232</c:v>
                </c:pt>
                <c:pt idx="153">
                  <c:v>44233</c:v>
                </c:pt>
                <c:pt idx="154">
                  <c:v>44234</c:v>
                </c:pt>
                <c:pt idx="155">
                  <c:v>44235</c:v>
                </c:pt>
                <c:pt idx="156">
                  <c:v>44236</c:v>
                </c:pt>
                <c:pt idx="157">
                  <c:v>44237</c:v>
                </c:pt>
                <c:pt idx="158">
                  <c:v>44238</c:v>
                </c:pt>
                <c:pt idx="159">
                  <c:v>44239</c:v>
                </c:pt>
                <c:pt idx="160">
                  <c:v>44240</c:v>
                </c:pt>
                <c:pt idx="161">
                  <c:v>44241</c:v>
                </c:pt>
                <c:pt idx="162">
                  <c:v>44242</c:v>
                </c:pt>
                <c:pt idx="163">
                  <c:v>44243</c:v>
                </c:pt>
                <c:pt idx="164">
                  <c:v>44244</c:v>
                </c:pt>
                <c:pt idx="165">
                  <c:v>44245</c:v>
                </c:pt>
                <c:pt idx="166">
                  <c:v>44246</c:v>
                </c:pt>
                <c:pt idx="167">
                  <c:v>44247</c:v>
                </c:pt>
                <c:pt idx="168">
                  <c:v>44248</c:v>
                </c:pt>
                <c:pt idx="169">
                  <c:v>44249</c:v>
                </c:pt>
                <c:pt idx="170">
                  <c:v>44250</c:v>
                </c:pt>
                <c:pt idx="171">
                  <c:v>44251</c:v>
                </c:pt>
                <c:pt idx="172">
                  <c:v>44252</c:v>
                </c:pt>
                <c:pt idx="173">
                  <c:v>44253</c:v>
                </c:pt>
                <c:pt idx="174">
                  <c:v>44254</c:v>
                </c:pt>
                <c:pt idx="175">
                  <c:v>44255</c:v>
                </c:pt>
                <c:pt idx="176">
                  <c:v>44256</c:v>
                </c:pt>
                <c:pt idx="177">
                  <c:v>44257</c:v>
                </c:pt>
                <c:pt idx="178">
                  <c:v>44258</c:v>
                </c:pt>
                <c:pt idx="179">
                  <c:v>44259</c:v>
                </c:pt>
                <c:pt idx="180">
                  <c:v>44260</c:v>
                </c:pt>
                <c:pt idx="181">
                  <c:v>44261</c:v>
                </c:pt>
                <c:pt idx="182">
                  <c:v>44262</c:v>
                </c:pt>
                <c:pt idx="183">
                  <c:v>44263</c:v>
                </c:pt>
                <c:pt idx="184">
                  <c:v>44264</c:v>
                </c:pt>
                <c:pt idx="185">
                  <c:v>44265</c:v>
                </c:pt>
                <c:pt idx="186">
                  <c:v>44266</c:v>
                </c:pt>
                <c:pt idx="187">
                  <c:v>44267</c:v>
                </c:pt>
                <c:pt idx="188">
                  <c:v>44268</c:v>
                </c:pt>
                <c:pt idx="189">
                  <c:v>44269</c:v>
                </c:pt>
                <c:pt idx="190">
                  <c:v>44270</c:v>
                </c:pt>
                <c:pt idx="191">
                  <c:v>44271</c:v>
                </c:pt>
                <c:pt idx="192">
                  <c:v>44272</c:v>
                </c:pt>
                <c:pt idx="193">
                  <c:v>44273</c:v>
                </c:pt>
                <c:pt idx="194">
                  <c:v>44274</c:v>
                </c:pt>
                <c:pt idx="195">
                  <c:v>44275</c:v>
                </c:pt>
                <c:pt idx="196">
                  <c:v>44276</c:v>
                </c:pt>
                <c:pt idx="197">
                  <c:v>44277</c:v>
                </c:pt>
                <c:pt idx="198">
                  <c:v>44278</c:v>
                </c:pt>
                <c:pt idx="199">
                  <c:v>44279</c:v>
                </c:pt>
                <c:pt idx="200">
                  <c:v>44280</c:v>
                </c:pt>
                <c:pt idx="201">
                  <c:v>44281</c:v>
                </c:pt>
                <c:pt idx="202">
                  <c:v>44282</c:v>
                </c:pt>
                <c:pt idx="203">
                  <c:v>44283</c:v>
                </c:pt>
                <c:pt idx="204">
                  <c:v>44284</c:v>
                </c:pt>
                <c:pt idx="205">
                  <c:v>44285</c:v>
                </c:pt>
                <c:pt idx="206">
                  <c:v>44286</c:v>
                </c:pt>
                <c:pt idx="207">
                  <c:v>44287</c:v>
                </c:pt>
                <c:pt idx="208">
                  <c:v>44288</c:v>
                </c:pt>
                <c:pt idx="209">
                  <c:v>44289</c:v>
                </c:pt>
                <c:pt idx="210">
                  <c:v>44290</c:v>
                </c:pt>
                <c:pt idx="211">
                  <c:v>44291</c:v>
                </c:pt>
                <c:pt idx="212">
                  <c:v>44292</c:v>
                </c:pt>
                <c:pt idx="213">
                  <c:v>44293</c:v>
                </c:pt>
                <c:pt idx="214">
                  <c:v>44294</c:v>
                </c:pt>
                <c:pt idx="215">
                  <c:v>44295</c:v>
                </c:pt>
                <c:pt idx="216">
                  <c:v>44296</c:v>
                </c:pt>
                <c:pt idx="217">
                  <c:v>44297</c:v>
                </c:pt>
                <c:pt idx="218">
                  <c:v>44298</c:v>
                </c:pt>
                <c:pt idx="219">
                  <c:v>44299</c:v>
                </c:pt>
                <c:pt idx="220">
                  <c:v>44300</c:v>
                </c:pt>
                <c:pt idx="221">
                  <c:v>44301</c:v>
                </c:pt>
                <c:pt idx="222">
                  <c:v>44302</c:v>
                </c:pt>
                <c:pt idx="223">
                  <c:v>44303</c:v>
                </c:pt>
                <c:pt idx="224">
                  <c:v>44304</c:v>
                </c:pt>
                <c:pt idx="225">
                  <c:v>44305</c:v>
                </c:pt>
                <c:pt idx="226">
                  <c:v>44306</c:v>
                </c:pt>
                <c:pt idx="227">
                  <c:v>44307</c:v>
                </c:pt>
                <c:pt idx="228">
                  <c:v>44308</c:v>
                </c:pt>
                <c:pt idx="229">
                  <c:v>44309</c:v>
                </c:pt>
                <c:pt idx="230">
                  <c:v>44310</c:v>
                </c:pt>
                <c:pt idx="231">
                  <c:v>44312</c:v>
                </c:pt>
                <c:pt idx="232">
                  <c:v>44313</c:v>
                </c:pt>
                <c:pt idx="233">
                  <c:v>44314</c:v>
                </c:pt>
                <c:pt idx="234">
                  <c:v>44315</c:v>
                </c:pt>
                <c:pt idx="235">
                  <c:v>44316</c:v>
                </c:pt>
                <c:pt idx="236">
                  <c:v>44318</c:v>
                </c:pt>
                <c:pt idx="237">
                  <c:v>44319</c:v>
                </c:pt>
                <c:pt idx="238">
                  <c:v>44320</c:v>
                </c:pt>
                <c:pt idx="239">
                  <c:v>44321</c:v>
                </c:pt>
                <c:pt idx="240">
                  <c:v>44322</c:v>
                </c:pt>
                <c:pt idx="241">
                  <c:v>44323</c:v>
                </c:pt>
                <c:pt idx="242">
                  <c:v>44324</c:v>
                </c:pt>
                <c:pt idx="243">
                  <c:v>44325</c:v>
                </c:pt>
                <c:pt idx="244">
                  <c:v>44326</c:v>
                </c:pt>
                <c:pt idx="245">
                  <c:v>44327</c:v>
                </c:pt>
                <c:pt idx="246">
                  <c:v>44329</c:v>
                </c:pt>
                <c:pt idx="247">
                  <c:v>44330</c:v>
                </c:pt>
                <c:pt idx="248">
                  <c:v>44331</c:v>
                </c:pt>
                <c:pt idx="249">
                  <c:v>44333</c:v>
                </c:pt>
                <c:pt idx="250">
                  <c:v>44334</c:v>
                </c:pt>
                <c:pt idx="251">
                  <c:v>44335</c:v>
                </c:pt>
                <c:pt idx="252">
                  <c:v>44336</c:v>
                </c:pt>
                <c:pt idx="253">
                  <c:v>44337</c:v>
                </c:pt>
                <c:pt idx="254">
                  <c:v>44340</c:v>
                </c:pt>
                <c:pt idx="255">
                  <c:v>44341</c:v>
                </c:pt>
                <c:pt idx="256">
                  <c:v>44342</c:v>
                </c:pt>
                <c:pt idx="257">
                  <c:v>44343</c:v>
                </c:pt>
                <c:pt idx="258">
                  <c:v>44349</c:v>
                </c:pt>
                <c:pt idx="259">
                  <c:v>44350</c:v>
                </c:pt>
                <c:pt idx="260">
                  <c:v>44358</c:v>
                </c:pt>
                <c:pt idx="261">
                  <c:v>44364</c:v>
                </c:pt>
                <c:pt idx="262">
                  <c:v>44370</c:v>
                </c:pt>
                <c:pt idx="263">
                  <c:v>44371</c:v>
                </c:pt>
                <c:pt idx="264">
                  <c:v>44377</c:v>
                </c:pt>
                <c:pt idx="265">
                  <c:v>44378</c:v>
                </c:pt>
                <c:pt idx="266">
                  <c:v>44381</c:v>
                </c:pt>
                <c:pt idx="267">
                  <c:v>44385</c:v>
                </c:pt>
                <c:pt idx="268">
                  <c:v>44388</c:v>
                </c:pt>
                <c:pt idx="269">
                  <c:v>44398</c:v>
                </c:pt>
                <c:pt idx="270">
                  <c:v>44401</c:v>
                </c:pt>
                <c:pt idx="271">
                  <c:v>44404</c:v>
                </c:pt>
                <c:pt idx="272">
                  <c:v>44405</c:v>
                </c:pt>
                <c:pt idx="273">
                  <c:v>44416</c:v>
                </c:pt>
                <c:pt idx="274">
                  <c:v>44419</c:v>
                </c:pt>
                <c:pt idx="275">
                  <c:v>44424</c:v>
                </c:pt>
                <c:pt idx="276">
                  <c:v>44425</c:v>
                </c:pt>
                <c:pt idx="277">
                  <c:v>44427</c:v>
                </c:pt>
                <c:pt idx="278">
                  <c:v>44431</c:v>
                </c:pt>
                <c:pt idx="279">
                  <c:v>44434</c:v>
                </c:pt>
                <c:pt idx="280">
                  <c:v>44435</c:v>
                </c:pt>
                <c:pt idx="281">
                  <c:v>44436</c:v>
                </c:pt>
                <c:pt idx="282">
                  <c:v>44440</c:v>
                </c:pt>
                <c:pt idx="283">
                  <c:v>44441</c:v>
                </c:pt>
                <c:pt idx="284">
                  <c:v>44442</c:v>
                </c:pt>
                <c:pt idx="285">
                  <c:v>44443</c:v>
                </c:pt>
                <c:pt idx="286">
                  <c:v>44445</c:v>
                </c:pt>
                <c:pt idx="287">
                  <c:v>44446</c:v>
                </c:pt>
                <c:pt idx="288">
                  <c:v>44447</c:v>
                </c:pt>
                <c:pt idx="289">
                  <c:v>44448</c:v>
                </c:pt>
                <c:pt idx="290">
                  <c:v>44451</c:v>
                </c:pt>
                <c:pt idx="291">
                  <c:v>44452</c:v>
                </c:pt>
                <c:pt idx="292">
                  <c:v>44453</c:v>
                </c:pt>
                <c:pt idx="293">
                  <c:v>44457</c:v>
                </c:pt>
                <c:pt idx="294">
                  <c:v>44459</c:v>
                </c:pt>
                <c:pt idx="295">
                  <c:v>44460</c:v>
                </c:pt>
                <c:pt idx="296">
                  <c:v>44461</c:v>
                </c:pt>
                <c:pt idx="297">
                  <c:v>44464</c:v>
                </c:pt>
                <c:pt idx="298">
                  <c:v>44465</c:v>
                </c:pt>
                <c:pt idx="299">
                  <c:v>44466</c:v>
                </c:pt>
                <c:pt idx="300">
                  <c:v>44467</c:v>
                </c:pt>
                <c:pt idx="301">
                  <c:v>44468</c:v>
                </c:pt>
                <c:pt idx="302">
                  <c:v>44469</c:v>
                </c:pt>
                <c:pt idx="303">
                  <c:v>44470</c:v>
                </c:pt>
                <c:pt idx="304">
                  <c:v>44471</c:v>
                </c:pt>
                <c:pt idx="305">
                  <c:v>44472</c:v>
                </c:pt>
                <c:pt idx="306">
                  <c:v>44473</c:v>
                </c:pt>
                <c:pt idx="307">
                  <c:v>44474</c:v>
                </c:pt>
                <c:pt idx="308">
                  <c:v>44475</c:v>
                </c:pt>
                <c:pt idx="309">
                  <c:v>44476</c:v>
                </c:pt>
                <c:pt idx="310">
                  <c:v>44477</c:v>
                </c:pt>
                <c:pt idx="311">
                  <c:v>44478</c:v>
                </c:pt>
                <c:pt idx="312">
                  <c:v>44480</c:v>
                </c:pt>
                <c:pt idx="313">
                  <c:v>44481</c:v>
                </c:pt>
                <c:pt idx="314">
                  <c:v>44482</c:v>
                </c:pt>
                <c:pt idx="315">
                  <c:v>44483</c:v>
                </c:pt>
                <c:pt idx="316">
                  <c:v>44484</c:v>
                </c:pt>
                <c:pt idx="317">
                  <c:v>44485</c:v>
                </c:pt>
                <c:pt idx="318">
                  <c:v>44486</c:v>
                </c:pt>
                <c:pt idx="319">
                  <c:v>44487</c:v>
                </c:pt>
                <c:pt idx="320">
                  <c:v>44488</c:v>
                </c:pt>
                <c:pt idx="321">
                  <c:v>44489</c:v>
                </c:pt>
                <c:pt idx="322">
                  <c:v>44490</c:v>
                </c:pt>
                <c:pt idx="323">
                  <c:v>44491</c:v>
                </c:pt>
                <c:pt idx="324">
                  <c:v>44492</c:v>
                </c:pt>
                <c:pt idx="325">
                  <c:v>44493</c:v>
                </c:pt>
                <c:pt idx="326">
                  <c:v>44494</c:v>
                </c:pt>
                <c:pt idx="327">
                  <c:v>44495</c:v>
                </c:pt>
                <c:pt idx="328">
                  <c:v>44496</c:v>
                </c:pt>
                <c:pt idx="329">
                  <c:v>44497</c:v>
                </c:pt>
                <c:pt idx="330">
                  <c:v>44498</c:v>
                </c:pt>
                <c:pt idx="331">
                  <c:v>44499</c:v>
                </c:pt>
                <c:pt idx="332">
                  <c:v>44500</c:v>
                </c:pt>
                <c:pt idx="333">
                  <c:v>44501</c:v>
                </c:pt>
                <c:pt idx="334">
                  <c:v>44502</c:v>
                </c:pt>
                <c:pt idx="335">
                  <c:v>44503</c:v>
                </c:pt>
                <c:pt idx="336">
                  <c:v>44504</c:v>
                </c:pt>
                <c:pt idx="337">
                  <c:v>44505</c:v>
                </c:pt>
                <c:pt idx="338">
                  <c:v>44506</c:v>
                </c:pt>
                <c:pt idx="339">
                  <c:v>44507</c:v>
                </c:pt>
                <c:pt idx="340">
                  <c:v>44508</c:v>
                </c:pt>
                <c:pt idx="341">
                  <c:v>44509</c:v>
                </c:pt>
                <c:pt idx="342">
                  <c:v>44510</c:v>
                </c:pt>
                <c:pt idx="343">
                  <c:v>44511</c:v>
                </c:pt>
                <c:pt idx="344">
                  <c:v>44512</c:v>
                </c:pt>
                <c:pt idx="345">
                  <c:v>44513</c:v>
                </c:pt>
                <c:pt idx="346">
                  <c:v>44514</c:v>
                </c:pt>
                <c:pt idx="347">
                  <c:v>44515</c:v>
                </c:pt>
                <c:pt idx="348">
                  <c:v>44516</c:v>
                </c:pt>
                <c:pt idx="349">
                  <c:v>44517</c:v>
                </c:pt>
                <c:pt idx="350">
                  <c:v>44518</c:v>
                </c:pt>
                <c:pt idx="351">
                  <c:v>44519</c:v>
                </c:pt>
                <c:pt idx="352">
                  <c:v>44520</c:v>
                </c:pt>
                <c:pt idx="353">
                  <c:v>44521</c:v>
                </c:pt>
                <c:pt idx="354">
                  <c:v>44522</c:v>
                </c:pt>
                <c:pt idx="355">
                  <c:v>44523</c:v>
                </c:pt>
                <c:pt idx="356">
                  <c:v>44524</c:v>
                </c:pt>
                <c:pt idx="357">
                  <c:v>44525</c:v>
                </c:pt>
                <c:pt idx="358">
                  <c:v>44526</c:v>
                </c:pt>
                <c:pt idx="359">
                  <c:v>44527</c:v>
                </c:pt>
                <c:pt idx="360">
                  <c:v>44528</c:v>
                </c:pt>
                <c:pt idx="361">
                  <c:v>44529</c:v>
                </c:pt>
                <c:pt idx="362">
                  <c:v>44530</c:v>
                </c:pt>
                <c:pt idx="363">
                  <c:v>44531</c:v>
                </c:pt>
                <c:pt idx="364">
                  <c:v>44532</c:v>
                </c:pt>
                <c:pt idx="365">
                  <c:v>44533</c:v>
                </c:pt>
                <c:pt idx="366">
                  <c:v>44534</c:v>
                </c:pt>
                <c:pt idx="367">
                  <c:v>44535</c:v>
                </c:pt>
                <c:pt idx="368">
                  <c:v>44536</c:v>
                </c:pt>
                <c:pt idx="369">
                  <c:v>44537</c:v>
                </c:pt>
                <c:pt idx="370">
                  <c:v>44538</c:v>
                </c:pt>
                <c:pt idx="371">
                  <c:v>44539</c:v>
                </c:pt>
                <c:pt idx="372">
                  <c:v>44540</c:v>
                </c:pt>
                <c:pt idx="373">
                  <c:v>44541</c:v>
                </c:pt>
                <c:pt idx="374">
                  <c:v>44542</c:v>
                </c:pt>
                <c:pt idx="375">
                  <c:v>44543</c:v>
                </c:pt>
                <c:pt idx="376">
                  <c:v>44544</c:v>
                </c:pt>
                <c:pt idx="377">
                  <c:v>44545</c:v>
                </c:pt>
                <c:pt idx="378">
                  <c:v>44546</c:v>
                </c:pt>
                <c:pt idx="379">
                  <c:v>44547</c:v>
                </c:pt>
                <c:pt idx="380">
                  <c:v>44548</c:v>
                </c:pt>
                <c:pt idx="381">
                  <c:v>44549</c:v>
                </c:pt>
                <c:pt idx="382">
                  <c:v>44550</c:v>
                </c:pt>
                <c:pt idx="383">
                  <c:v>44551</c:v>
                </c:pt>
                <c:pt idx="384">
                  <c:v>44552</c:v>
                </c:pt>
                <c:pt idx="385">
                  <c:v>44553</c:v>
                </c:pt>
                <c:pt idx="386">
                  <c:v>44554</c:v>
                </c:pt>
                <c:pt idx="387">
                  <c:v>44555</c:v>
                </c:pt>
                <c:pt idx="388">
                  <c:v>44556</c:v>
                </c:pt>
                <c:pt idx="389">
                  <c:v>44557</c:v>
                </c:pt>
                <c:pt idx="390">
                  <c:v>44558</c:v>
                </c:pt>
                <c:pt idx="391">
                  <c:v>44559</c:v>
                </c:pt>
                <c:pt idx="392">
                  <c:v>44560</c:v>
                </c:pt>
                <c:pt idx="393">
                  <c:v>44561</c:v>
                </c:pt>
                <c:pt idx="394">
                  <c:v>44562</c:v>
                </c:pt>
                <c:pt idx="395">
                  <c:v>44563</c:v>
                </c:pt>
                <c:pt idx="396">
                  <c:v>44564</c:v>
                </c:pt>
                <c:pt idx="397">
                  <c:v>44565</c:v>
                </c:pt>
                <c:pt idx="398">
                  <c:v>44566</c:v>
                </c:pt>
                <c:pt idx="399">
                  <c:v>44567</c:v>
                </c:pt>
                <c:pt idx="400">
                  <c:v>44568</c:v>
                </c:pt>
                <c:pt idx="401">
                  <c:v>44569</c:v>
                </c:pt>
                <c:pt idx="402">
                  <c:v>44570</c:v>
                </c:pt>
                <c:pt idx="403">
                  <c:v>44571</c:v>
                </c:pt>
                <c:pt idx="404">
                  <c:v>44572</c:v>
                </c:pt>
                <c:pt idx="405">
                  <c:v>44573</c:v>
                </c:pt>
                <c:pt idx="406">
                  <c:v>44574</c:v>
                </c:pt>
                <c:pt idx="407">
                  <c:v>44575</c:v>
                </c:pt>
              </c:numCache>
            </c:numRef>
          </c:cat>
          <c:val>
            <c:numRef>
              <c:f>Sheet1!$C$2:$C$409</c:f>
              <c:numCache>
                <c:formatCode>General</c:formatCode>
                <c:ptCount val="408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1</c:v>
                </c:pt>
                <c:pt idx="15">
                  <c:v>1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2</c:v>
                </c:pt>
                <c:pt idx="22">
                  <c:v>3</c:v>
                </c:pt>
                <c:pt idx="23">
                  <c:v>1</c:v>
                </c:pt>
                <c:pt idx="24">
                  <c:v>4</c:v>
                </c:pt>
                <c:pt idx="25">
                  <c:v>4</c:v>
                </c:pt>
                <c:pt idx="26">
                  <c:v>7</c:v>
                </c:pt>
                <c:pt idx="27">
                  <c:v>5</c:v>
                </c:pt>
                <c:pt idx="28">
                  <c:v>5</c:v>
                </c:pt>
                <c:pt idx="29">
                  <c:v>23</c:v>
                </c:pt>
                <c:pt idx="30">
                  <c:v>8</c:v>
                </c:pt>
                <c:pt idx="31">
                  <c:v>7</c:v>
                </c:pt>
                <c:pt idx="32">
                  <c:v>2</c:v>
                </c:pt>
                <c:pt idx="33">
                  <c:v>7</c:v>
                </c:pt>
                <c:pt idx="34">
                  <c:v>3</c:v>
                </c:pt>
                <c:pt idx="35">
                  <c:v>0</c:v>
                </c:pt>
                <c:pt idx="36">
                  <c:v>8</c:v>
                </c:pt>
                <c:pt idx="37">
                  <c:v>13</c:v>
                </c:pt>
                <c:pt idx="38">
                  <c:v>13</c:v>
                </c:pt>
                <c:pt idx="39">
                  <c:v>15</c:v>
                </c:pt>
                <c:pt idx="40">
                  <c:v>18</c:v>
                </c:pt>
                <c:pt idx="41">
                  <c:v>9</c:v>
                </c:pt>
                <c:pt idx="42">
                  <c:v>5</c:v>
                </c:pt>
                <c:pt idx="43">
                  <c:v>18</c:v>
                </c:pt>
                <c:pt idx="44">
                  <c:v>14</c:v>
                </c:pt>
                <c:pt idx="45">
                  <c:v>20</c:v>
                </c:pt>
                <c:pt idx="46">
                  <c:v>18</c:v>
                </c:pt>
                <c:pt idx="47">
                  <c:v>28</c:v>
                </c:pt>
                <c:pt idx="48">
                  <c:v>7</c:v>
                </c:pt>
                <c:pt idx="49">
                  <c:v>7</c:v>
                </c:pt>
                <c:pt idx="50">
                  <c:v>28</c:v>
                </c:pt>
                <c:pt idx="51">
                  <c:v>18</c:v>
                </c:pt>
                <c:pt idx="52">
                  <c:v>11</c:v>
                </c:pt>
                <c:pt idx="53">
                  <c:v>20</c:v>
                </c:pt>
                <c:pt idx="54">
                  <c:v>27</c:v>
                </c:pt>
                <c:pt idx="55">
                  <c:v>9</c:v>
                </c:pt>
                <c:pt idx="56">
                  <c:v>14</c:v>
                </c:pt>
                <c:pt idx="57">
                  <c:v>15</c:v>
                </c:pt>
                <c:pt idx="58">
                  <c:v>13</c:v>
                </c:pt>
                <c:pt idx="59">
                  <c:v>21</c:v>
                </c:pt>
                <c:pt idx="60">
                  <c:v>9</c:v>
                </c:pt>
                <c:pt idx="61">
                  <c:v>16</c:v>
                </c:pt>
                <c:pt idx="62">
                  <c:v>10</c:v>
                </c:pt>
                <c:pt idx="63">
                  <c:v>6</c:v>
                </c:pt>
                <c:pt idx="64">
                  <c:v>10</c:v>
                </c:pt>
                <c:pt idx="65">
                  <c:v>16</c:v>
                </c:pt>
                <c:pt idx="66">
                  <c:v>25</c:v>
                </c:pt>
                <c:pt idx="67">
                  <c:v>14</c:v>
                </c:pt>
                <c:pt idx="68">
                  <c:v>19</c:v>
                </c:pt>
                <c:pt idx="69">
                  <c:v>9</c:v>
                </c:pt>
                <c:pt idx="70">
                  <c:v>4</c:v>
                </c:pt>
                <c:pt idx="71">
                  <c:v>18</c:v>
                </c:pt>
                <c:pt idx="72">
                  <c:v>9</c:v>
                </c:pt>
                <c:pt idx="73">
                  <c:v>12</c:v>
                </c:pt>
                <c:pt idx="74">
                  <c:v>12</c:v>
                </c:pt>
                <c:pt idx="75">
                  <c:v>13</c:v>
                </c:pt>
                <c:pt idx="76">
                  <c:v>4</c:v>
                </c:pt>
                <c:pt idx="77">
                  <c:v>3</c:v>
                </c:pt>
                <c:pt idx="78">
                  <c:v>15</c:v>
                </c:pt>
                <c:pt idx="79">
                  <c:v>9</c:v>
                </c:pt>
                <c:pt idx="80">
                  <c:v>7</c:v>
                </c:pt>
                <c:pt idx="81">
                  <c:v>9</c:v>
                </c:pt>
                <c:pt idx="82">
                  <c:v>5</c:v>
                </c:pt>
                <c:pt idx="83">
                  <c:v>1</c:v>
                </c:pt>
                <c:pt idx="84">
                  <c:v>2</c:v>
                </c:pt>
                <c:pt idx="85">
                  <c:v>10</c:v>
                </c:pt>
                <c:pt idx="86">
                  <c:v>9</c:v>
                </c:pt>
                <c:pt idx="87">
                  <c:v>5</c:v>
                </c:pt>
                <c:pt idx="88">
                  <c:v>2</c:v>
                </c:pt>
                <c:pt idx="89">
                  <c:v>8</c:v>
                </c:pt>
                <c:pt idx="90">
                  <c:v>2</c:v>
                </c:pt>
                <c:pt idx="91">
                  <c:v>1</c:v>
                </c:pt>
                <c:pt idx="92">
                  <c:v>3</c:v>
                </c:pt>
                <c:pt idx="93">
                  <c:v>4</c:v>
                </c:pt>
                <c:pt idx="94">
                  <c:v>6</c:v>
                </c:pt>
                <c:pt idx="95">
                  <c:v>5</c:v>
                </c:pt>
                <c:pt idx="96">
                  <c:v>6</c:v>
                </c:pt>
                <c:pt idx="97">
                  <c:v>3</c:v>
                </c:pt>
                <c:pt idx="98">
                  <c:v>3</c:v>
                </c:pt>
                <c:pt idx="99">
                  <c:v>4</c:v>
                </c:pt>
                <c:pt idx="100">
                  <c:v>3</c:v>
                </c:pt>
                <c:pt idx="101">
                  <c:v>6</c:v>
                </c:pt>
                <c:pt idx="102">
                  <c:v>3</c:v>
                </c:pt>
                <c:pt idx="103">
                  <c:v>7</c:v>
                </c:pt>
                <c:pt idx="104">
                  <c:v>6</c:v>
                </c:pt>
                <c:pt idx="105">
                  <c:v>1</c:v>
                </c:pt>
                <c:pt idx="106">
                  <c:v>5</c:v>
                </c:pt>
                <c:pt idx="107">
                  <c:v>10</c:v>
                </c:pt>
                <c:pt idx="108">
                  <c:v>2</c:v>
                </c:pt>
                <c:pt idx="109">
                  <c:v>1</c:v>
                </c:pt>
                <c:pt idx="110">
                  <c:v>6</c:v>
                </c:pt>
                <c:pt idx="111">
                  <c:v>5</c:v>
                </c:pt>
                <c:pt idx="112">
                  <c:v>7</c:v>
                </c:pt>
                <c:pt idx="113">
                  <c:v>4</c:v>
                </c:pt>
                <c:pt idx="114">
                  <c:v>6</c:v>
                </c:pt>
                <c:pt idx="115">
                  <c:v>8</c:v>
                </c:pt>
                <c:pt idx="116">
                  <c:v>7</c:v>
                </c:pt>
                <c:pt idx="117">
                  <c:v>4</c:v>
                </c:pt>
                <c:pt idx="118">
                  <c:v>5</c:v>
                </c:pt>
                <c:pt idx="119">
                  <c:v>1</c:v>
                </c:pt>
                <c:pt idx="120">
                  <c:v>9</c:v>
                </c:pt>
                <c:pt idx="121">
                  <c:v>5</c:v>
                </c:pt>
                <c:pt idx="122">
                  <c:v>4</c:v>
                </c:pt>
                <c:pt idx="123">
                  <c:v>7</c:v>
                </c:pt>
                <c:pt idx="124">
                  <c:v>8</c:v>
                </c:pt>
                <c:pt idx="125">
                  <c:v>3</c:v>
                </c:pt>
                <c:pt idx="126">
                  <c:v>2</c:v>
                </c:pt>
                <c:pt idx="127">
                  <c:v>7</c:v>
                </c:pt>
                <c:pt idx="128">
                  <c:v>4</c:v>
                </c:pt>
                <c:pt idx="129">
                  <c:v>3</c:v>
                </c:pt>
                <c:pt idx="130">
                  <c:v>3</c:v>
                </c:pt>
                <c:pt idx="131">
                  <c:v>12</c:v>
                </c:pt>
                <c:pt idx="132">
                  <c:v>4</c:v>
                </c:pt>
                <c:pt idx="133">
                  <c:v>2</c:v>
                </c:pt>
                <c:pt idx="134">
                  <c:v>5</c:v>
                </c:pt>
                <c:pt idx="135">
                  <c:v>4</c:v>
                </c:pt>
                <c:pt idx="136">
                  <c:v>8</c:v>
                </c:pt>
                <c:pt idx="137">
                  <c:v>5</c:v>
                </c:pt>
                <c:pt idx="138">
                  <c:v>5</c:v>
                </c:pt>
                <c:pt idx="139">
                  <c:v>0</c:v>
                </c:pt>
                <c:pt idx="140">
                  <c:v>3</c:v>
                </c:pt>
                <c:pt idx="141">
                  <c:v>7</c:v>
                </c:pt>
                <c:pt idx="142">
                  <c:v>1</c:v>
                </c:pt>
                <c:pt idx="143">
                  <c:v>2</c:v>
                </c:pt>
                <c:pt idx="144">
                  <c:v>2</c:v>
                </c:pt>
                <c:pt idx="145">
                  <c:v>1</c:v>
                </c:pt>
                <c:pt idx="146">
                  <c:v>2</c:v>
                </c:pt>
                <c:pt idx="147">
                  <c:v>1</c:v>
                </c:pt>
                <c:pt idx="148">
                  <c:v>3</c:v>
                </c:pt>
                <c:pt idx="149">
                  <c:v>3</c:v>
                </c:pt>
                <c:pt idx="150">
                  <c:v>2</c:v>
                </c:pt>
                <c:pt idx="151">
                  <c:v>4</c:v>
                </c:pt>
                <c:pt idx="152">
                  <c:v>2</c:v>
                </c:pt>
                <c:pt idx="153">
                  <c:v>3</c:v>
                </c:pt>
                <c:pt idx="154">
                  <c:v>1</c:v>
                </c:pt>
                <c:pt idx="155">
                  <c:v>2</c:v>
                </c:pt>
                <c:pt idx="156">
                  <c:v>2</c:v>
                </c:pt>
                <c:pt idx="157">
                  <c:v>2</c:v>
                </c:pt>
                <c:pt idx="158">
                  <c:v>3</c:v>
                </c:pt>
                <c:pt idx="159">
                  <c:v>3</c:v>
                </c:pt>
                <c:pt idx="160">
                  <c:v>0</c:v>
                </c:pt>
                <c:pt idx="161">
                  <c:v>0</c:v>
                </c:pt>
                <c:pt idx="162">
                  <c:v>2</c:v>
                </c:pt>
                <c:pt idx="163">
                  <c:v>2</c:v>
                </c:pt>
                <c:pt idx="164">
                  <c:v>3</c:v>
                </c:pt>
                <c:pt idx="165">
                  <c:v>2</c:v>
                </c:pt>
                <c:pt idx="166">
                  <c:v>0</c:v>
                </c:pt>
                <c:pt idx="167">
                  <c:v>6</c:v>
                </c:pt>
                <c:pt idx="168">
                  <c:v>0</c:v>
                </c:pt>
                <c:pt idx="169">
                  <c:v>1</c:v>
                </c:pt>
                <c:pt idx="170">
                  <c:v>4</c:v>
                </c:pt>
                <c:pt idx="171">
                  <c:v>1</c:v>
                </c:pt>
                <c:pt idx="172">
                  <c:v>0</c:v>
                </c:pt>
                <c:pt idx="173">
                  <c:v>1</c:v>
                </c:pt>
                <c:pt idx="174">
                  <c:v>1</c:v>
                </c:pt>
                <c:pt idx="175">
                  <c:v>0</c:v>
                </c:pt>
                <c:pt idx="176">
                  <c:v>2</c:v>
                </c:pt>
                <c:pt idx="177">
                  <c:v>4</c:v>
                </c:pt>
                <c:pt idx="178">
                  <c:v>1</c:v>
                </c:pt>
                <c:pt idx="179">
                  <c:v>1</c:v>
                </c:pt>
                <c:pt idx="180">
                  <c:v>2</c:v>
                </c:pt>
                <c:pt idx="181">
                  <c:v>0</c:v>
                </c:pt>
                <c:pt idx="182">
                  <c:v>0</c:v>
                </c:pt>
                <c:pt idx="183">
                  <c:v>0</c:v>
                </c:pt>
                <c:pt idx="184">
                  <c:v>2</c:v>
                </c:pt>
                <c:pt idx="185">
                  <c:v>4</c:v>
                </c:pt>
                <c:pt idx="186">
                  <c:v>1</c:v>
                </c:pt>
                <c:pt idx="187">
                  <c:v>0</c:v>
                </c:pt>
                <c:pt idx="188">
                  <c:v>1</c:v>
                </c:pt>
                <c:pt idx="189">
                  <c:v>1</c:v>
                </c:pt>
                <c:pt idx="190">
                  <c:v>1</c:v>
                </c:pt>
                <c:pt idx="191">
                  <c:v>2</c:v>
                </c:pt>
                <c:pt idx="192">
                  <c:v>1</c:v>
                </c:pt>
                <c:pt idx="193">
                  <c:v>3</c:v>
                </c:pt>
                <c:pt idx="194">
                  <c:v>0</c:v>
                </c:pt>
                <c:pt idx="195">
                  <c:v>1</c:v>
                </c:pt>
                <c:pt idx="196">
                  <c:v>1</c:v>
                </c:pt>
                <c:pt idx="197">
                  <c:v>1</c:v>
                </c:pt>
                <c:pt idx="198">
                  <c:v>1</c:v>
                </c:pt>
                <c:pt idx="199">
                  <c:v>1</c:v>
                </c:pt>
                <c:pt idx="200">
                  <c:v>1</c:v>
                </c:pt>
                <c:pt idx="201">
                  <c:v>0</c:v>
                </c:pt>
                <c:pt idx="202">
                  <c:v>0</c:v>
                </c:pt>
                <c:pt idx="203">
                  <c:v>0</c:v>
                </c:pt>
                <c:pt idx="204">
                  <c:v>0</c:v>
                </c:pt>
                <c:pt idx="205">
                  <c:v>1</c:v>
                </c:pt>
                <c:pt idx="206">
                  <c:v>0</c:v>
                </c:pt>
                <c:pt idx="207">
                  <c:v>0</c:v>
                </c:pt>
                <c:pt idx="208">
                  <c:v>0</c:v>
                </c:pt>
                <c:pt idx="209">
                  <c:v>1</c:v>
                </c:pt>
                <c:pt idx="210">
                  <c:v>0</c:v>
                </c:pt>
                <c:pt idx="211">
                  <c:v>0</c:v>
                </c:pt>
                <c:pt idx="212">
                  <c:v>0</c:v>
                </c:pt>
                <c:pt idx="213">
                  <c:v>2</c:v>
                </c:pt>
                <c:pt idx="214">
                  <c:v>0</c:v>
                </c:pt>
                <c:pt idx="215">
                  <c:v>0</c:v>
                </c:pt>
                <c:pt idx="216">
                  <c:v>0</c:v>
                </c:pt>
                <c:pt idx="217">
                  <c:v>0</c:v>
                </c:pt>
                <c:pt idx="218">
                  <c:v>0</c:v>
                </c:pt>
                <c:pt idx="219">
                  <c:v>0</c:v>
                </c:pt>
                <c:pt idx="220">
                  <c:v>0</c:v>
                </c:pt>
                <c:pt idx="221">
                  <c:v>1</c:v>
                </c:pt>
                <c:pt idx="222">
                  <c:v>0</c:v>
                </c:pt>
                <c:pt idx="223">
                  <c:v>0</c:v>
                </c:pt>
                <c:pt idx="224">
                  <c:v>0</c:v>
                </c:pt>
                <c:pt idx="225">
                  <c:v>0</c:v>
                </c:pt>
                <c:pt idx="226">
                  <c:v>0</c:v>
                </c:pt>
                <c:pt idx="227">
                  <c:v>0</c:v>
                </c:pt>
                <c:pt idx="228">
                  <c:v>0</c:v>
                </c:pt>
                <c:pt idx="229">
                  <c:v>0</c:v>
                </c:pt>
                <c:pt idx="230">
                  <c:v>0</c:v>
                </c:pt>
                <c:pt idx="231">
                  <c:v>0</c:v>
                </c:pt>
                <c:pt idx="232">
                  <c:v>2</c:v>
                </c:pt>
                <c:pt idx="233">
                  <c:v>0</c:v>
                </c:pt>
                <c:pt idx="234">
                  <c:v>0</c:v>
                </c:pt>
                <c:pt idx="235">
                  <c:v>0</c:v>
                </c:pt>
                <c:pt idx="236">
                  <c:v>0</c:v>
                </c:pt>
                <c:pt idx="237">
                  <c:v>0</c:v>
                </c:pt>
                <c:pt idx="238">
                  <c:v>0</c:v>
                </c:pt>
                <c:pt idx="239">
                  <c:v>0</c:v>
                </c:pt>
                <c:pt idx="240">
                  <c:v>0</c:v>
                </c:pt>
                <c:pt idx="241">
                  <c:v>0</c:v>
                </c:pt>
                <c:pt idx="242">
                  <c:v>0</c:v>
                </c:pt>
                <c:pt idx="243">
                  <c:v>2</c:v>
                </c:pt>
                <c:pt idx="244">
                  <c:v>0</c:v>
                </c:pt>
                <c:pt idx="245">
                  <c:v>0</c:v>
                </c:pt>
                <c:pt idx="246">
                  <c:v>0</c:v>
                </c:pt>
                <c:pt idx="247">
                  <c:v>1</c:v>
                </c:pt>
                <c:pt idx="248">
                  <c:v>0</c:v>
                </c:pt>
                <c:pt idx="249">
                  <c:v>0</c:v>
                </c:pt>
                <c:pt idx="250">
                  <c:v>0</c:v>
                </c:pt>
                <c:pt idx="251">
                  <c:v>0</c:v>
                </c:pt>
                <c:pt idx="252">
                  <c:v>0</c:v>
                </c:pt>
                <c:pt idx="253">
                  <c:v>0</c:v>
                </c:pt>
                <c:pt idx="254">
                  <c:v>0</c:v>
                </c:pt>
                <c:pt idx="255">
                  <c:v>0</c:v>
                </c:pt>
                <c:pt idx="256">
                  <c:v>0</c:v>
                </c:pt>
                <c:pt idx="257">
                  <c:v>0</c:v>
                </c:pt>
                <c:pt idx="258">
                  <c:v>0</c:v>
                </c:pt>
                <c:pt idx="259">
                  <c:v>0</c:v>
                </c:pt>
                <c:pt idx="260">
                  <c:v>0</c:v>
                </c:pt>
                <c:pt idx="261">
                  <c:v>0</c:v>
                </c:pt>
                <c:pt idx="262">
                  <c:v>0</c:v>
                </c:pt>
                <c:pt idx="263">
                  <c:v>0</c:v>
                </c:pt>
                <c:pt idx="264">
                  <c:v>0</c:v>
                </c:pt>
                <c:pt idx="265">
                  <c:v>0</c:v>
                </c:pt>
                <c:pt idx="266">
                  <c:v>0</c:v>
                </c:pt>
                <c:pt idx="267">
                  <c:v>0</c:v>
                </c:pt>
                <c:pt idx="268">
                  <c:v>0</c:v>
                </c:pt>
                <c:pt idx="269">
                  <c:v>0</c:v>
                </c:pt>
                <c:pt idx="270">
                  <c:v>0</c:v>
                </c:pt>
                <c:pt idx="271">
                  <c:v>0</c:v>
                </c:pt>
                <c:pt idx="272">
                  <c:v>0</c:v>
                </c:pt>
                <c:pt idx="273">
                  <c:v>0</c:v>
                </c:pt>
                <c:pt idx="274">
                  <c:v>0</c:v>
                </c:pt>
                <c:pt idx="275">
                  <c:v>0</c:v>
                </c:pt>
                <c:pt idx="276">
                  <c:v>0</c:v>
                </c:pt>
                <c:pt idx="277">
                  <c:v>1</c:v>
                </c:pt>
                <c:pt idx="278">
                  <c:v>0</c:v>
                </c:pt>
                <c:pt idx="279">
                  <c:v>0</c:v>
                </c:pt>
                <c:pt idx="280">
                  <c:v>0</c:v>
                </c:pt>
                <c:pt idx="281">
                  <c:v>0</c:v>
                </c:pt>
                <c:pt idx="282">
                  <c:v>1</c:v>
                </c:pt>
                <c:pt idx="283">
                  <c:v>0</c:v>
                </c:pt>
                <c:pt idx="284">
                  <c:v>0</c:v>
                </c:pt>
                <c:pt idx="285">
                  <c:v>0</c:v>
                </c:pt>
                <c:pt idx="286">
                  <c:v>0</c:v>
                </c:pt>
                <c:pt idx="287">
                  <c:v>0</c:v>
                </c:pt>
                <c:pt idx="288">
                  <c:v>0</c:v>
                </c:pt>
                <c:pt idx="289">
                  <c:v>0</c:v>
                </c:pt>
                <c:pt idx="290">
                  <c:v>0</c:v>
                </c:pt>
                <c:pt idx="291">
                  <c:v>0</c:v>
                </c:pt>
                <c:pt idx="292">
                  <c:v>0</c:v>
                </c:pt>
                <c:pt idx="293">
                  <c:v>0</c:v>
                </c:pt>
                <c:pt idx="294">
                  <c:v>0</c:v>
                </c:pt>
                <c:pt idx="295">
                  <c:v>1</c:v>
                </c:pt>
                <c:pt idx="296">
                  <c:v>0</c:v>
                </c:pt>
                <c:pt idx="297">
                  <c:v>0</c:v>
                </c:pt>
                <c:pt idx="298">
                  <c:v>0</c:v>
                </c:pt>
                <c:pt idx="299">
                  <c:v>0</c:v>
                </c:pt>
                <c:pt idx="300">
                  <c:v>0</c:v>
                </c:pt>
                <c:pt idx="301">
                  <c:v>0</c:v>
                </c:pt>
                <c:pt idx="302">
                  <c:v>0</c:v>
                </c:pt>
                <c:pt idx="303">
                  <c:v>0</c:v>
                </c:pt>
                <c:pt idx="304">
                  <c:v>0</c:v>
                </c:pt>
                <c:pt idx="305">
                  <c:v>0</c:v>
                </c:pt>
                <c:pt idx="306">
                  <c:v>0</c:v>
                </c:pt>
                <c:pt idx="307">
                  <c:v>0</c:v>
                </c:pt>
                <c:pt idx="308">
                  <c:v>1</c:v>
                </c:pt>
                <c:pt idx="309">
                  <c:v>1</c:v>
                </c:pt>
                <c:pt idx="310">
                  <c:v>0</c:v>
                </c:pt>
                <c:pt idx="311">
                  <c:v>0</c:v>
                </c:pt>
                <c:pt idx="312">
                  <c:v>0</c:v>
                </c:pt>
                <c:pt idx="313">
                  <c:v>0</c:v>
                </c:pt>
                <c:pt idx="314">
                  <c:v>1</c:v>
                </c:pt>
                <c:pt idx="315">
                  <c:v>0</c:v>
                </c:pt>
                <c:pt idx="316">
                  <c:v>0</c:v>
                </c:pt>
                <c:pt idx="317">
                  <c:v>0</c:v>
                </c:pt>
                <c:pt idx="318">
                  <c:v>0</c:v>
                </c:pt>
                <c:pt idx="319">
                  <c:v>3</c:v>
                </c:pt>
                <c:pt idx="320">
                  <c:v>0</c:v>
                </c:pt>
                <c:pt idx="321">
                  <c:v>0</c:v>
                </c:pt>
                <c:pt idx="322">
                  <c:v>0</c:v>
                </c:pt>
                <c:pt idx="323">
                  <c:v>1</c:v>
                </c:pt>
                <c:pt idx="324">
                  <c:v>0</c:v>
                </c:pt>
                <c:pt idx="325">
                  <c:v>0</c:v>
                </c:pt>
                <c:pt idx="326">
                  <c:v>1</c:v>
                </c:pt>
                <c:pt idx="327">
                  <c:v>0</c:v>
                </c:pt>
                <c:pt idx="328">
                  <c:v>0</c:v>
                </c:pt>
                <c:pt idx="329">
                  <c:v>0</c:v>
                </c:pt>
                <c:pt idx="330">
                  <c:v>1</c:v>
                </c:pt>
                <c:pt idx="331">
                  <c:v>0</c:v>
                </c:pt>
                <c:pt idx="332">
                  <c:v>1</c:v>
                </c:pt>
                <c:pt idx="333">
                  <c:v>1</c:v>
                </c:pt>
                <c:pt idx="334">
                  <c:v>1</c:v>
                </c:pt>
                <c:pt idx="335">
                  <c:v>1</c:v>
                </c:pt>
                <c:pt idx="336">
                  <c:v>0</c:v>
                </c:pt>
                <c:pt idx="337">
                  <c:v>1</c:v>
                </c:pt>
                <c:pt idx="338">
                  <c:v>0</c:v>
                </c:pt>
                <c:pt idx="339">
                  <c:v>1</c:v>
                </c:pt>
                <c:pt idx="340">
                  <c:v>0</c:v>
                </c:pt>
                <c:pt idx="341">
                  <c:v>3</c:v>
                </c:pt>
                <c:pt idx="342">
                  <c:v>0</c:v>
                </c:pt>
                <c:pt idx="343">
                  <c:v>1</c:v>
                </c:pt>
                <c:pt idx="344">
                  <c:v>0</c:v>
                </c:pt>
                <c:pt idx="345">
                  <c:v>2</c:v>
                </c:pt>
                <c:pt idx="346">
                  <c:v>2</c:v>
                </c:pt>
                <c:pt idx="347">
                  <c:v>1</c:v>
                </c:pt>
                <c:pt idx="348">
                  <c:v>1</c:v>
                </c:pt>
                <c:pt idx="349">
                  <c:v>0</c:v>
                </c:pt>
                <c:pt idx="350">
                  <c:v>6</c:v>
                </c:pt>
                <c:pt idx="351">
                  <c:v>3</c:v>
                </c:pt>
                <c:pt idx="352">
                  <c:v>1</c:v>
                </c:pt>
                <c:pt idx="353">
                  <c:v>2</c:v>
                </c:pt>
                <c:pt idx="354">
                  <c:v>2</c:v>
                </c:pt>
                <c:pt idx="355">
                  <c:v>0</c:v>
                </c:pt>
                <c:pt idx="356">
                  <c:v>5</c:v>
                </c:pt>
                <c:pt idx="357">
                  <c:v>0</c:v>
                </c:pt>
                <c:pt idx="358">
                  <c:v>1</c:v>
                </c:pt>
                <c:pt idx="359">
                  <c:v>0</c:v>
                </c:pt>
                <c:pt idx="360">
                  <c:v>0</c:v>
                </c:pt>
                <c:pt idx="361">
                  <c:v>0</c:v>
                </c:pt>
                <c:pt idx="362">
                  <c:v>0</c:v>
                </c:pt>
                <c:pt idx="363">
                  <c:v>0</c:v>
                </c:pt>
                <c:pt idx="364">
                  <c:v>1</c:v>
                </c:pt>
                <c:pt idx="365">
                  <c:v>0</c:v>
                </c:pt>
                <c:pt idx="366">
                  <c:v>0</c:v>
                </c:pt>
                <c:pt idx="367">
                  <c:v>1</c:v>
                </c:pt>
                <c:pt idx="368">
                  <c:v>1</c:v>
                </c:pt>
                <c:pt idx="369">
                  <c:v>0</c:v>
                </c:pt>
                <c:pt idx="370">
                  <c:v>1</c:v>
                </c:pt>
                <c:pt idx="371">
                  <c:v>2</c:v>
                </c:pt>
                <c:pt idx="372">
                  <c:v>1</c:v>
                </c:pt>
                <c:pt idx="373">
                  <c:v>0</c:v>
                </c:pt>
                <c:pt idx="374">
                  <c:v>0</c:v>
                </c:pt>
                <c:pt idx="375">
                  <c:v>0</c:v>
                </c:pt>
                <c:pt idx="376">
                  <c:v>0</c:v>
                </c:pt>
                <c:pt idx="377">
                  <c:v>0</c:v>
                </c:pt>
                <c:pt idx="378">
                  <c:v>0</c:v>
                </c:pt>
                <c:pt idx="379">
                  <c:v>1</c:v>
                </c:pt>
                <c:pt idx="380">
                  <c:v>0</c:v>
                </c:pt>
                <c:pt idx="381">
                  <c:v>0</c:v>
                </c:pt>
                <c:pt idx="382">
                  <c:v>2</c:v>
                </c:pt>
                <c:pt idx="383">
                  <c:v>0</c:v>
                </c:pt>
                <c:pt idx="384">
                  <c:v>1</c:v>
                </c:pt>
                <c:pt idx="385">
                  <c:v>0</c:v>
                </c:pt>
                <c:pt idx="386">
                  <c:v>0</c:v>
                </c:pt>
                <c:pt idx="387">
                  <c:v>0</c:v>
                </c:pt>
                <c:pt idx="388">
                  <c:v>0</c:v>
                </c:pt>
                <c:pt idx="389">
                  <c:v>0</c:v>
                </c:pt>
                <c:pt idx="390">
                  <c:v>0</c:v>
                </c:pt>
                <c:pt idx="391">
                  <c:v>0</c:v>
                </c:pt>
                <c:pt idx="392">
                  <c:v>0</c:v>
                </c:pt>
                <c:pt idx="393">
                  <c:v>0</c:v>
                </c:pt>
                <c:pt idx="394">
                  <c:v>0</c:v>
                </c:pt>
                <c:pt idx="395">
                  <c:v>0</c:v>
                </c:pt>
                <c:pt idx="396">
                  <c:v>1</c:v>
                </c:pt>
                <c:pt idx="397">
                  <c:v>0</c:v>
                </c:pt>
                <c:pt idx="398">
                  <c:v>0</c:v>
                </c:pt>
                <c:pt idx="399">
                  <c:v>0</c:v>
                </c:pt>
                <c:pt idx="400">
                  <c:v>0</c:v>
                </c:pt>
                <c:pt idx="401">
                  <c:v>0</c:v>
                </c:pt>
                <c:pt idx="402">
                  <c:v>0</c:v>
                </c:pt>
                <c:pt idx="403">
                  <c:v>0</c:v>
                </c:pt>
                <c:pt idx="404">
                  <c:v>0</c:v>
                </c:pt>
                <c:pt idx="405">
                  <c:v>0</c:v>
                </c:pt>
                <c:pt idx="406">
                  <c:v>0</c:v>
                </c:pt>
                <c:pt idx="407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85D-4027-9A8C-A63EB3E95B8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-27"/>
        <c:axId val="529925759"/>
        <c:axId val="533925071"/>
      </c:barChart>
      <c:dateAx>
        <c:axId val="529925759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33925071"/>
        <c:crosses val="autoZero"/>
        <c:auto val="1"/>
        <c:lblOffset val="100"/>
        <c:baseTimeUnit val="days"/>
      </c:dateAx>
      <c:valAx>
        <c:axId val="533925071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2992575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27.4.–
3.5.</c:v>
                </c:pt>
                <c:pt idx="1">
                  <c:v>4.5.–
10.5.</c:v>
                </c:pt>
                <c:pt idx="2">
                  <c:v>11.5.–
17.5.</c:v>
                </c:pt>
                <c:pt idx="3">
                  <c:v>18.5.–
24.5.</c:v>
                </c:pt>
                <c:pt idx="4">
                  <c:v>25.5.–
31.5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0</c:v>
                </c:pt>
                <c:pt idx="1">
                  <c:v>0</c:v>
                </c:pt>
                <c:pt idx="2">
                  <c:v>90</c:v>
                </c:pt>
                <c:pt idx="3">
                  <c:v>20</c:v>
                </c:pt>
                <c:pt idx="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1.6.–
7.6.</c:v>
                </c:pt>
                <c:pt idx="1">
                  <c:v>8.6.–
14.6.</c:v>
                </c:pt>
                <c:pt idx="2">
                  <c:v>15.6.–
21.6.</c:v>
                </c:pt>
                <c:pt idx="3">
                  <c:v>22.6.–
28.6.</c:v>
                </c:pt>
                <c:pt idx="4">
                  <c:v>29.6.–
5.7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35</c:v>
                </c:pt>
                <c:pt idx="1">
                  <c:v>0</c:v>
                </c:pt>
                <c:pt idx="2">
                  <c:v>45</c:v>
                </c:pt>
                <c:pt idx="3">
                  <c:v>2</c:v>
                </c:pt>
                <c:pt idx="4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29.6.–
5.7.</c:v>
                </c:pt>
                <c:pt idx="1">
                  <c:v>6.7.–
12.7.</c:v>
                </c:pt>
                <c:pt idx="2">
                  <c:v>13.7.–
19.7.</c:v>
                </c:pt>
                <c:pt idx="3">
                  <c:v>20.7.–
26.7.</c:v>
                </c:pt>
                <c:pt idx="4">
                  <c:v>27.7.–
2.8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2</c:v>
                </c:pt>
                <c:pt idx="1">
                  <c:v>1</c:v>
                </c:pt>
                <c:pt idx="2">
                  <c:v>0</c:v>
                </c:pt>
                <c:pt idx="3">
                  <c:v>110</c:v>
                </c:pt>
                <c:pt idx="4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G$1</c:f>
              <c:strCache>
                <c:ptCount val="6"/>
                <c:pt idx="0">
                  <c:v>27.7.–
2.8.</c:v>
                </c:pt>
                <c:pt idx="1">
                  <c:v>3.8.–
9.8.</c:v>
                </c:pt>
                <c:pt idx="2">
                  <c:v>10.8.–
16.8.</c:v>
                </c:pt>
                <c:pt idx="3">
                  <c:v>17.8.–
23.8.</c:v>
                </c:pt>
                <c:pt idx="4">
                  <c:v>24.8.–
30.8.</c:v>
                </c:pt>
                <c:pt idx="5">
                  <c:v>31.8.–
6.9.</c:v>
                </c:pt>
              </c:strCache>
            </c:strRef>
          </c:cat>
          <c:val>
            <c:numRef>
              <c:f>List1!$B$2:$G$2</c:f>
              <c:numCache>
                <c:formatCode>General</c:formatCode>
                <c:ptCount val="6"/>
                <c:pt idx="0">
                  <c:v>1</c:v>
                </c:pt>
                <c:pt idx="1">
                  <c:v>86</c:v>
                </c:pt>
                <c:pt idx="2">
                  <c:v>40</c:v>
                </c:pt>
                <c:pt idx="3">
                  <c:v>44</c:v>
                </c:pt>
                <c:pt idx="4">
                  <c:v>1</c:v>
                </c:pt>
                <c:pt idx="5">
                  <c:v>19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31.8.–
6.9.</c:v>
                </c:pt>
                <c:pt idx="1">
                  <c:v>7.9.–
13.9.</c:v>
                </c:pt>
                <c:pt idx="2">
                  <c:v>14.9.–
20.9.</c:v>
                </c:pt>
                <c:pt idx="3">
                  <c:v>21.9.–
27.9.</c:v>
                </c:pt>
                <c:pt idx="4">
                  <c:v>28.9.–
4.10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196</c:v>
                </c:pt>
                <c:pt idx="1">
                  <c:v>138</c:v>
                </c:pt>
                <c:pt idx="2">
                  <c:v>100</c:v>
                </c:pt>
                <c:pt idx="3">
                  <c:v>627</c:v>
                </c:pt>
                <c:pt idx="4">
                  <c:v>29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28.9.–
4.10.</c:v>
                </c:pt>
                <c:pt idx="1">
                  <c:v>5.10.–
11.10.</c:v>
                </c:pt>
                <c:pt idx="2">
                  <c:v>12.10.–
18.10.</c:v>
                </c:pt>
                <c:pt idx="3">
                  <c:v>19.10.–
25.10.</c:v>
                </c:pt>
                <c:pt idx="4">
                  <c:v>26.10.–
1.11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290</c:v>
                </c:pt>
                <c:pt idx="1">
                  <c:v>1325</c:v>
                </c:pt>
                <c:pt idx="2">
                  <c:v>3258</c:v>
                </c:pt>
                <c:pt idx="3">
                  <c:v>2610</c:v>
                </c:pt>
                <c:pt idx="4">
                  <c:v>27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G$1</c:f>
              <c:strCache>
                <c:ptCount val="6"/>
                <c:pt idx="0">
                  <c:v>26.10.–
1.11.</c:v>
                </c:pt>
                <c:pt idx="1">
                  <c:v>2.11.–
8.11.</c:v>
                </c:pt>
                <c:pt idx="2">
                  <c:v>9.11.–
15.11.</c:v>
                </c:pt>
                <c:pt idx="3">
                  <c:v>16.11.–
22.11.</c:v>
                </c:pt>
                <c:pt idx="4">
                  <c:v>23.11.–
29.11.</c:v>
                </c:pt>
                <c:pt idx="5">
                  <c:v>30.11.–
6.12.</c:v>
                </c:pt>
              </c:strCache>
            </c:strRef>
          </c:cat>
          <c:val>
            <c:numRef>
              <c:f>List1!$B$2:$G$2</c:f>
              <c:numCache>
                <c:formatCode>General</c:formatCode>
                <c:ptCount val="6"/>
                <c:pt idx="0">
                  <c:v>2702</c:v>
                </c:pt>
                <c:pt idx="1">
                  <c:v>2109</c:v>
                </c:pt>
                <c:pt idx="2">
                  <c:v>3034</c:v>
                </c:pt>
                <c:pt idx="3">
                  <c:v>2017</c:v>
                </c:pt>
                <c:pt idx="4">
                  <c:v>788</c:v>
                </c:pt>
                <c:pt idx="5">
                  <c:v>77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1.11.–
7.11.</c:v>
                </c:pt>
                <c:pt idx="1">
                  <c:v>8.11.–
14.11.</c:v>
                </c:pt>
                <c:pt idx="2">
                  <c:v>15.11.–
21.11.</c:v>
                </c:pt>
                <c:pt idx="3">
                  <c:v>22.11.–
28.11.</c:v>
                </c:pt>
                <c:pt idx="4">
                  <c:v>29.11.–
5.12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313</c:v>
                </c:pt>
                <c:pt idx="1">
                  <c:v>90</c:v>
                </c:pt>
                <c:pt idx="2">
                  <c:v>107</c:v>
                </c:pt>
                <c:pt idx="3">
                  <c:v>119</c:v>
                </c:pt>
                <c:pt idx="4">
                  <c:v>1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FFA-463E-99D6-F4A0CEB7628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30.11.–
6.12.</c:v>
                </c:pt>
                <c:pt idx="1">
                  <c:v>7.12.–
13.12.</c:v>
                </c:pt>
                <c:pt idx="2">
                  <c:v>14.12.–
20.12.</c:v>
                </c:pt>
                <c:pt idx="3">
                  <c:v>21.12.–
27.12.</c:v>
                </c:pt>
                <c:pt idx="4">
                  <c:v>28.12.–
3.1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772</c:v>
                </c:pt>
                <c:pt idx="1">
                  <c:v>1444</c:v>
                </c:pt>
                <c:pt idx="2">
                  <c:v>992</c:v>
                </c:pt>
                <c:pt idx="3">
                  <c:v>582</c:v>
                </c:pt>
                <c:pt idx="4">
                  <c:v>94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28.12.–
3.1.</c:v>
                </c:pt>
                <c:pt idx="1">
                  <c:v>4.1.–
10.1.</c:v>
                </c:pt>
                <c:pt idx="2">
                  <c:v>11.1.–
17.1.</c:v>
                </c:pt>
                <c:pt idx="3">
                  <c:v>18.1.–
24.1.</c:v>
                </c:pt>
                <c:pt idx="4">
                  <c:v>25.1.–
31.1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943</c:v>
                </c:pt>
                <c:pt idx="1">
                  <c:v>1069</c:v>
                </c:pt>
                <c:pt idx="2">
                  <c:v>910</c:v>
                </c:pt>
                <c:pt idx="3">
                  <c:v>885</c:v>
                </c:pt>
                <c:pt idx="4">
                  <c:v>40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E$1</c:f>
              <c:strCache>
                <c:ptCount val="4"/>
                <c:pt idx="0">
                  <c:v>1.2.–
7.2.</c:v>
                </c:pt>
                <c:pt idx="1">
                  <c:v>8.2.–
14.2.</c:v>
                </c:pt>
                <c:pt idx="2">
                  <c:v>15.2.–
21.2.</c:v>
                </c:pt>
                <c:pt idx="3">
                  <c:v>22.2.–
28.2.</c:v>
                </c:pt>
              </c:strCache>
            </c:strRef>
          </c:cat>
          <c:val>
            <c:numRef>
              <c:f>List1!$B$2:$E$2</c:f>
              <c:numCache>
                <c:formatCode>General</c:formatCode>
                <c:ptCount val="4"/>
                <c:pt idx="0">
                  <c:v>650</c:v>
                </c:pt>
                <c:pt idx="1">
                  <c:v>590</c:v>
                </c:pt>
                <c:pt idx="2">
                  <c:v>204</c:v>
                </c:pt>
                <c:pt idx="3">
                  <c:v>35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1.3.–
7.3.</c:v>
                </c:pt>
                <c:pt idx="1">
                  <c:v>8.3.–
14.3.</c:v>
                </c:pt>
                <c:pt idx="2">
                  <c:v>15.3.–
21.3.</c:v>
                </c:pt>
                <c:pt idx="3">
                  <c:v>22.3.–
28.3.</c:v>
                </c:pt>
                <c:pt idx="4">
                  <c:v>29.3.–
4.4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143</c:v>
                </c:pt>
                <c:pt idx="1">
                  <c:v>223</c:v>
                </c:pt>
                <c:pt idx="2">
                  <c:v>295</c:v>
                </c:pt>
                <c:pt idx="3">
                  <c:v>192</c:v>
                </c:pt>
                <c:pt idx="4">
                  <c:v>12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29.3.–
4.4.</c:v>
                </c:pt>
                <c:pt idx="1">
                  <c:v>5.4.–
11.4.</c:v>
                </c:pt>
                <c:pt idx="2">
                  <c:v>12.4.–
18.4.</c:v>
                </c:pt>
                <c:pt idx="3">
                  <c:v>19.4.–
25.4.</c:v>
                </c:pt>
                <c:pt idx="4">
                  <c:v>26.4.–
2.5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122</c:v>
                </c:pt>
                <c:pt idx="1">
                  <c:v>72</c:v>
                </c:pt>
                <c:pt idx="2">
                  <c:v>32</c:v>
                </c:pt>
                <c:pt idx="3">
                  <c:v>16</c:v>
                </c:pt>
                <c:pt idx="4">
                  <c:v>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G$1</c:f>
              <c:strCache>
                <c:ptCount val="6"/>
                <c:pt idx="0">
                  <c:v>26.4.–
2.5.</c:v>
                </c:pt>
                <c:pt idx="1">
                  <c:v>3.5.–
9.5.</c:v>
                </c:pt>
                <c:pt idx="2">
                  <c:v>10.5.–
16.5.</c:v>
                </c:pt>
                <c:pt idx="3">
                  <c:v>17.5.–
23.5.</c:v>
                </c:pt>
                <c:pt idx="4">
                  <c:v>24.5.–
30.5.</c:v>
                </c:pt>
                <c:pt idx="5">
                  <c:v>31.5.–
6.6.</c:v>
                </c:pt>
              </c:strCache>
            </c:strRef>
          </c:cat>
          <c:val>
            <c:numRef>
              <c:f>List1!$B$2:$G$2</c:f>
              <c:numCache>
                <c:formatCode>General</c:formatCode>
                <c:ptCount val="6"/>
                <c:pt idx="0">
                  <c:v>15</c:v>
                </c:pt>
                <c:pt idx="1">
                  <c:v>0</c:v>
                </c:pt>
                <c:pt idx="2">
                  <c:v>14</c:v>
                </c:pt>
                <c:pt idx="3">
                  <c:v>9</c:v>
                </c:pt>
                <c:pt idx="4">
                  <c:v>0</c:v>
                </c:pt>
                <c:pt idx="5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31.5.–
6.6.</c:v>
                </c:pt>
                <c:pt idx="1">
                  <c:v>7.6.–
13.6.</c:v>
                </c:pt>
                <c:pt idx="2">
                  <c:v>14.6.–
20.6.</c:v>
                </c:pt>
                <c:pt idx="3">
                  <c:v>21.6.–
27.6.</c:v>
                </c:pt>
                <c:pt idx="4">
                  <c:v>28.6.–
4.7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3</c:v>
                </c:pt>
                <c:pt idx="1">
                  <c:v>4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28.6.–
4.7.</c:v>
                </c:pt>
                <c:pt idx="1">
                  <c:v>5.7.–
11.7.</c:v>
                </c:pt>
                <c:pt idx="2">
                  <c:v>12.7.–
18.7.</c:v>
                </c:pt>
                <c:pt idx="3">
                  <c:v>19.7.–
25.7.</c:v>
                </c:pt>
                <c:pt idx="4">
                  <c:v>26.7.–
1.8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0</c:v>
                </c:pt>
                <c:pt idx="1">
                  <c:v>0</c:v>
                </c:pt>
                <c:pt idx="2">
                  <c:v>3</c:v>
                </c:pt>
                <c:pt idx="3">
                  <c:v>5</c:v>
                </c:pt>
                <c:pt idx="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G$1</c:f>
              <c:strCache>
                <c:ptCount val="6"/>
                <c:pt idx="0">
                  <c:v>26.7.–
1.8.</c:v>
                </c:pt>
                <c:pt idx="1">
                  <c:v>2.8.–
8.8.</c:v>
                </c:pt>
                <c:pt idx="2">
                  <c:v>9.8.–
15.8.</c:v>
                </c:pt>
                <c:pt idx="3">
                  <c:v>16.8.–
22.8.</c:v>
                </c:pt>
                <c:pt idx="4">
                  <c:v>23.8.–
29.8.</c:v>
                </c:pt>
                <c:pt idx="5">
                  <c:v>30.8.–
5.9.</c:v>
                </c:pt>
              </c:strCache>
            </c:strRef>
          </c:cat>
          <c:val>
            <c:numRef>
              <c:f>List1!$B$2:$G$2</c:f>
              <c:numCache>
                <c:formatCode>General</c:formatCode>
                <c:ptCount val="6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10</c:v>
                </c:pt>
                <c:pt idx="4">
                  <c:v>0</c:v>
                </c:pt>
                <c:pt idx="5">
                  <c:v>2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30.8.–
5.9.</c:v>
                </c:pt>
                <c:pt idx="1">
                  <c:v>6.9.–
12.9.</c:v>
                </c:pt>
                <c:pt idx="2">
                  <c:v>13.9.–
19.9.</c:v>
                </c:pt>
                <c:pt idx="3">
                  <c:v>20.9.–
26.9.</c:v>
                </c:pt>
                <c:pt idx="4">
                  <c:v>27.9.–
3.10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28</c:v>
                </c:pt>
                <c:pt idx="1">
                  <c:v>0</c:v>
                </c:pt>
                <c:pt idx="2">
                  <c:v>6</c:v>
                </c:pt>
                <c:pt idx="3">
                  <c:v>14</c:v>
                </c:pt>
                <c:pt idx="4">
                  <c:v>4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FFA-463E-99D6-F4A0CEB7628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29.11.–
5.12.</c:v>
                </c:pt>
                <c:pt idx="1">
                  <c:v>6.12.–
12.12.</c:v>
                </c:pt>
                <c:pt idx="2">
                  <c:v>13.12.–
19.12.</c:v>
                </c:pt>
                <c:pt idx="3">
                  <c:v>20.12.–
26.12.</c:v>
                </c:pt>
                <c:pt idx="4">
                  <c:v>27.12.–
2.1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104</c:v>
                </c:pt>
                <c:pt idx="1">
                  <c:v>171</c:v>
                </c:pt>
                <c:pt idx="2">
                  <c:v>106</c:v>
                </c:pt>
                <c:pt idx="3">
                  <c:v>70</c:v>
                </c:pt>
                <c:pt idx="4">
                  <c:v>15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FFA-463E-99D6-F4A0CEB7628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4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27.9.–
3.10.</c:v>
                </c:pt>
                <c:pt idx="1">
                  <c:v>4.10.–
10.10.</c:v>
                </c:pt>
                <c:pt idx="2">
                  <c:v>11.10.–
17.10.</c:v>
                </c:pt>
                <c:pt idx="3">
                  <c:v>18.10.–
24.10.</c:v>
                </c:pt>
                <c:pt idx="4">
                  <c:v>25.10.–
31.10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46</c:v>
                </c:pt>
                <c:pt idx="1">
                  <c:v>30</c:v>
                </c:pt>
                <c:pt idx="2">
                  <c:v>58</c:v>
                </c:pt>
                <c:pt idx="3">
                  <c:v>28</c:v>
                </c:pt>
                <c:pt idx="4">
                  <c:v>6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FFA-463E-99D6-F4A0CEB7628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G$1</c:f>
              <c:strCache>
                <c:ptCount val="6"/>
                <c:pt idx="0">
                  <c:v>27.12.–
2.1.</c:v>
                </c:pt>
                <c:pt idx="1">
                  <c:v>3.1.–
9.1.</c:v>
                </c:pt>
                <c:pt idx="2">
                  <c:v>10.1.–
16.1.</c:v>
                </c:pt>
                <c:pt idx="3">
                  <c:v>17.1.–
23.1.</c:v>
                </c:pt>
                <c:pt idx="4">
                  <c:v>24.1.–
30.1.</c:v>
                </c:pt>
                <c:pt idx="5">
                  <c:v>31.1.–
6.2.</c:v>
                </c:pt>
              </c:strCache>
            </c:strRef>
          </c:cat>
          <c:val>
            <c:numRef>
              <c:f>List1!$B$2:$G$2</c:f>
              <c:numCache>
                <c:formatCode>General</c:formatCode>
                <c:ptCount val="6"/>
                <c:pt idx="0">
                  <c:v>154</c:v>
                </c:pt>
                <c:pt idx="1">
                  <c:v>46</c:v>
                </c:pt>
                <c:pt idx="2">
                  <c:v>1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cs-CZ" dirty="0"/>
              <a:t>Klienti</a:t>
            </a:r>
            <a:r>
              <a:rPr lang="cs-CZ" baseline="0" dirty="0"/>
              <a:t> a pracovníci</a:t>
            </a:r>
            <a:endParaRPr lang="cs-CZ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List1!$B$1</c:f>
              <c:strCache>
                <c:ptCount val="1"/>
                <c:pt idx="0">
                  <c:v>Sloupec1</c:v>
                </c:pt>
              </c:strCache>
            </c:strRef>
          </c:tx>
          <c:explosion val="1"/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D4DD-43EC-ACB6-2CFB565CAD69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D4DD-43EC-ACB6-2CFB565CAD69}"/>
              </c:ext>
            </c:extLst>
          </c:dPt>
          <c:dLbls>
            <c:dLbl>
              <c:idx val="0"/>
              <c:layout>
                <c:manualLayout>
                  <c:x val="3.5487344412856947E-2"/>
                  <c:y val="-5.3230175730255659E-2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D4DD-43EC-ACB6-2CFB565CAD69}"/>
                </c:ext>
              </c:extLst>
            </c:dLbl>
            <c:dLbl>
              <c:idx val="1"/>
              <c:layout>
                <c:manualLayout>
                  <c:x val="-3.4963343241499231E-2"/>
                  <c:y val="4.3115189104511016E-2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D4DD-43EC-ACB6-2CFB565CAD69}"/>
                </c:ext>
              </c:extLst>
            </c:dLbl>
            <c:numFmt formatCode="0.0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List1!$A$2:$A$3</c:f>
              <c:strCache>
                <c:ptCount val="2"/>
                <c:pt idx="0">
                  <c:v>Zadávají do Sociálního mdulu ISIN</c:v>
                </c:pt>
                <c:pt idx="1">
                  <c:v>Nezadávají</c:v>
                </c:pt>
              </c:strCache>
            </c:strRef>
          </c:cat>
          <c:val>
            <c:numRef>
              <c:f>List1!$B$2:$B$3</c:f>
              <c:numCache>
                <c:formatCode>0.00%</c:formatCode>
                <c:ptCount val="2"/>
                <c:pt idx="0">
                  <c:v>0.81780126802944675</c:v>
                </c:pt>
                <c:pt idx="1">
                  <c:v>0.182198731970553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D4DD-43EC-ACB6-2CFB565CAD6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cs-CZ" dirty="0"/>
              <a:t>Pracovníci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List1!$C$1</c:f>
              <c:strCache>
                <c:ptCount val="1"/>
                <c:pt idx="0">
                  <c:v>Sloupec2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2-3C4E-4B6D-BC39-F29FC08BBEF3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3C4E-4B6D-BC39-F29FC08BBEF3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bg1">
                        <a:lumMod val="9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List1!$A$2:$A$3</c:f>
              <c:strCache>
                <c:ptCount val="2"/>
                <c:pt idx="0">
                  <c:v>Celkový počet</c:v>
                </c:pt>
                <c:pt idx="1">
                  <c:v>Pozitivních</c:v>
                </c:pt>
              </c:strCache>
            </c:strRef>
          </c:cat>
          <c:val>
            <c:numRef>
              <c:f>List1!$C$2:$C$3</c:f>
              <c:numCache>
                <c:formatCode>0.0%</c:formatCode>
                <c:ptCount val="2"/>
                <c:pt idx="0">
                  <c:v>0.76670932692558835</c:v>
                </c:pt>
                <c:pt idx="1">
                  <c:v>0.2332906730744116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C4E-4B6D-BC39-F29FC08BBEF3}"/>
            </c:ext>
          </c:extLst>
        </c:ser>
        <c:dLbls>
          <c:dLblPos val="bestFit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cs-CZ" dirty="0"/>
              <a:t>Klienti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List1!$B$1</c:f>
              <c:strCache>
                <c:ptCount val="1"/>
                <c:pt idx="0">
                  <c:v>Sloupec1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EC7D-4055-8756-BCAC7661DC44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EC7D-4055-8756-BCAC7661DC44}"/>
              </c:ext>
            </c:extLst>
          </c:dPt>
          <c:dLbls>
            <c:dLbl>
              <c:idx val="0"/>
              <c:layout>
                <c:manualLayout>
                  <c:x val="-0.29351597816452135"/>
                  <c:y val="-4.6398163076137706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bg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424931181756074"/>
                      <c:h val="0.20662042201543307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EC7D-4055-8756-BCAC7661DC44}"/>
                </c:ext>
              </c:extLst>
            </c:dLbl>
            <c:dLbl>
              <c:idx val="1"/>
              <c:layout>
                <c:manualLayout>
                  <c:x val="0.19018843929624771"/>
                  <c:y val="9.5176209178521709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bg1">
                          <a:lumMod val="9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9718979566560638"/>
                      <c:h val="0.20662042201543307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EC7D-4055-8756-BCAC7661DC4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List1!$A$2:$A$3</c:f>
              <c:strCache>
                <c:ptCount val="2"/>
                <c:pt idx="0">
                  <c:v>Celkový počet</c:v>
                </c:pt>
                <c:pt idx="1">
                  <c:v>Pozitivních</c:v>
                </c:pt>
              </c:strCache>
            </c:strRef>
          </c:cat>
          <c:val>
            <c:numRef>
              <c:f>List1!$B$2:$B$3</c:f>
              <c:numCache>
                <c:formatCode>0.0%</c:formatCode>
                <c:ptCount val="2"/>
                <c:pt idx="0">
                  <c:v>0.63300000000000001</c:v>
                </c:pt>
                <c:pt idx="1">
                  <c:v>0.3669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EC7D-4055-8756-BCAC7661DC44}"/>
            </c:ext>
          </c:extLst>
        </c:ser>
        <c:dLbls>
          <c:dLblPos val="bestFit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cs-CZ" dirty="0"/>
              <a:t>Celkem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List1!$D$1</c:f>
              <c:strCache>
                <c:ptCount val="1"/>
                <c:pt idx="0">
                  <c:v>Sloupec3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7E22-41E2-BAC0-9FFA33A42325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7E22-41E2-BAC0-9FFA33A42325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bg1">
                        <a:lumMod val="9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List1!$A$2:$A$3</c:f>
              <c:strCache>
                <c:ptCount val="2"/>
                <c:pt idx="0">
                  <c:v>Celkový počet</c:v>
                </c:pt>
                <c:pt idx="1">
                  <c:v>Pozitivních</c:v>
                </c:pt>
              </c:strCache>
            </c:strRef>
          </c:cat>
          <c:val>
            <c:numRef>
              <c:f>List1!$D$2:$D$3</c:f>
              <c:numCache>
                <c:formatCode>0.0%</c:formatCode>
                <c:ptCount val="2"/>
                <c:pt idx="0">
                  <c:v>0.70499999999999996</c:v>
                </c:pt>
                <c:pt idx="1">
                  <c:v>0.294999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7E22-41E2-BAC0-9FFA33A42325}"/>
            </c:ext>
          </c:extLst>
        </c:ser>
        <c:dLbls>
          <c:dLblPos val="bestFit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F8F9534-E31E-47A6-B3B5-39567348889D}" type="datetimeFigureOut">
              <a:rPr lang="cs-CZ" smtClean="0"/>
              <a:t>16.01.2022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13B4F48-45DA-4A93-94D7-4559DBB1A6C9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127701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3.sv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5.svg"/><Relationship Id="rId4" Type="http://schemas.openxmlformats.org/officeDocument/2006/relationships/image" Target="../media/image7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5.svg"/><Relationship Id="rId4" Type="http://schemas.openxmlformats.org/officeDocument/2006/relationships/image" Target="../media/image7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5.svg"/><Relationship Id="rId4" Type="http://schemas.openxmlformats.org/officeDocument/2006/relationships/image" Target="../media/image7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.svg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5.svg"/><Relationship Id="rId4" Type="http://schemas.openxmlformats.org/officeDocument/2006/relationships/image" Target="../media/image7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3.svg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675FD825-1F31-4493-889C-46F3B206D7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5951561"/>
            <a:ext cx="964869" cy="639860"/>
          </a:xfrm>
          <a:prstGeom prst="rect">
            <a:avLst/>
          </a:prstGeom>
        </p:spPr>
      </p:pic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grpSp>
        <p:nvGrpSpPr>
          <p:cNvPr id="24" name="Skupina 23">
            <a:extLst>
              <a:ext uri="{FF2B5EF4-FFF2-40B4-BE49-F238E27FC236}">
                <a16:creationId xmlns:a16="http://schemas.microsoft.com/office/drawing/2014/main" id="{A68D80B2-804E-48C4-917F-364953F04117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6AD8391B-BFA6-420F-8E95-DE146CE7E68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2E38FE36-8704-4B15-B3ED-B5C034568E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753880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7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5152017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EDB0FC9C-CAD2-4DA3-81D9-FE9D2BAA5F0C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5" name="Skupina 24">
              <a:extLst>
                <a:ext uri="{FF2B5EF4-FFF2-40B4-BE49-F238E27FC236}">
                  <a16:creationId xmlns:a16="http://schemas.microsoft.com/office/drawing/2014/main" id="{812BEB90-324A-4A2D-9EF7-4E5CCD4362D6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6" name="Grafický objekt 25">
                <a:extLst>
                  <a:ext uri="{FF2B5EF4-FFF2-40B4-BE49-F238E27FC236}">
                    <a16:creationId xmlns:a16="http://schemas.microsoft.com/office/drawing/2014/main" id="{DA398F1A-CD3A-4447-AD94-A2C8AA7D3ED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7" name="Grafický objekt 26">
                <a:extLst>
                  <a:ext uri="{FF2B5EF4-FFF2-40B4-BE49-F238E27FC236}">
                    <a16:creationId xmlns:a16="http://schemas.microsoft.com/office/drawing/2014/main" id="{B44E7B5D-0A2A-4E37-9366-E7DA6249045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0" name="Obrázek 9" descr="Obsah obrázku kreslení&#10;&#10;Popis byl vytvořen automaticky">
              <a:extLst>
                <a:ext uri="{FF2B5EF4-FFF2-40B4-BE49-F238E27FC236}">
                  <a16:creationId xmlns:a16="http://schemas.microsoft.com/office/drawing/2014/main" id="{79993D16-A750-49F0-840D-E154F500609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56762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 userDrawn="1">
          <p15:clr>
            <a:srgbClr val="FBAE40"/>
          </p15:clr>
        </p15:guide>
        <p15:guide id="2" pos="7582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text,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3" name="Zástupný symbol obrázku 12">
            <a:extLst>
              <a:ext uri="{FF2B5EF4-FFF2-40B4-BE49-F238E27FC236}">
                <a16:creationId xmlns:a16="http://schemas.microsoft.com/office/drawing/2014/main" id="{9DA90696-1068-45DC-844C-39D2648EE4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431686" y="1376036"/>
            <a:ext cx="6378575" cy="515201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Zde vložte obrázek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470E0D0-A2AB-409D-829F-DB124986B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827422E6-1939-4D22-82CF-00821A158B63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0" name="Skupina 19">
              <a:extLst>
                <a:ext uri="{FF2B5EF4-FFF2-40B4-BE49-F238E27FC236}">
                  <a16:creationId xmlns:a16="http://schemas.microsoft.com/office/drawing/2014/main" id="{EBDF3FB1-1F98-4150-A8F1-0D74F99C8837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3" name="Grafický objekt 22">
                <a:extLst>
                  <a:ext uri="{FF2B5EF4-FFF2-40B4-BE49-F238E27FC236}">
                    <a16:creationId xmlns:a16="http://schemas.microsoft.com/office/drawing/2014/main" id="{DCF8E799-50DF-4E6B-ACA9-136D7EC04502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85FD9467-D507-4558-9FAC-72B0B20404D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2" name="Obrázek 21" descr="Obsah obrázku kreslení&#10;&#10;Popis byl vytvořen automaticky">
              <a:extLst>
                <a:ext uri="{FF2B5EF4-FFF2-40B4-BE49-F238E27FC236}">
                  <a16:creationId xmlns:a16="http://schemas.microsoft.com/office/drawing/2014/main" id="{0641DDD1-9D04-47D2-A445-158BCC04161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6" name="Zástupný obsah 2">
            <a:extLst>
              <a:ext uri="{FF2B5EF4-FFF2-40B4-BE49-F238E27FC236}">
                <a16:creationId xmlns:a16="http://schemas.microsoft.com/office/drawing/2014/main" id="{04ACDA81-8751-49AB-97FB-4BF8241EFBB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81740" y="1376037"/>
            <a:ext cx="4927108" cy="5152017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</p:spTree>
    <p:extLst>
      <p:ext uri="{BB962C8B-B14F-4D97-AF65-F5344CB8AC3E}">
        <p14:creationId xmlns:p14="http://schemas.microsoft.com/office/powerpoint/2010/main" val="346280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65D34D94-04F9-4E00-B5C8-BA240CAA9819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6" name="Nadpis 1">
            <a:extLst>
              <a:ext uri="{FF2B5EF4-FFF2-40B4-BE49-F238E27FC236}">
                <a16:creationId xmlns:a16="http://schemas.microsoft.com/office/drawing/2014/main" id="{5E3B3E7F-FC75-4C4E-B4B1-9B56B7FC22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68F80365-EAA4-451F-AF73-86DCFE8AB83A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7BB3E92E-B74E-48A9-9E5E-5CA3884CB64E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E8A2959C-9C38-4FE1-857B-E5CE286D30A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5" name="Grafický objekt 24">
                <a:extLst>
                  <a:ext uri="{FF2B5EF4-FFF2-40B4-BE49-F238E27FC236}">
                    <a16:creationId xmlns:a16="http://schemas.microsoft.com/office/drawing/2014/main" id="{BAA2F625-C665-422E-9490-CD15682AFEC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3" name="Obrázek 22" descr="Obsah obrázku kreslení&#10;&#10;Popis byl vytvořen automaticky">
              <a:extLst>
                <a:ext uri="{FF2B5EF4-FFF2-40B4-BE49-F238E27FC236}">
                  <a16:creationId xmlns:a16="http://schemas.microsoft.com/office/drawing/2014/main" id="{4A334F60-C769-4877-A470-32CC5F3F7F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8413787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0CE82392-F9A7-4797-B789-543297A3131F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4" name="Grafický objekt 13">
              <a:extLst>
                <a:ext uri="{FF2B5EF4-FFF2-40B4-BE49-F238E27FC236}">
                  <a16:creationId xmlns:a16="http://schemas.microsoft.com/office/drawing/2014/main" id="{D518AFD1-5C76-435F-900F-DCD0490895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5" name="Obrázek 14" descr="Obsah obrázku kreslení&#10;&#10;Popis byl vytvořen automaticky">
              <a:extLst>
                <a:ext uri="{FF2B5EF4-FFF2-40B4-BE49-F238E27FC236}">
                  <a16:creationId xmlns:a16="http://schemas.microsoft.com/office/drawing/2014/main" id="{54C0D6F4-44CD-4848-AE87-029AA0E556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00A9CFE-29F8-4983-92E5-1DE4851C895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426207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3877897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obsah, obrázek - inverzní">
    <p:bg>
      <p:bgPr>
        <a:solidFill>
          <a:srgbClr val="D3114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obsah 2">
            <a:extLst>
              <a:ext uri="{FF2B5EF4-FFF2-40B4-BE49-F238E27FC236}">
                <a16:creationId xmlns:a16="http://schemas.microsoft.com/office/drawing/2014/main" id="{DD6A7890-1F20-4DA7-AA89-7E104719D3C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1000" y="1376362"/>
            <a:ext cx="11617349" cy="5132669"/>
          </a:xfrm>
        </p:spPr>
        <p:txBody>
          <a:bodyPr>
            <a:normAutofit/>
          </a:bodyPr>
          <a:lstStyle>
            <a:lvl1pPr marL="228600" indent="-228600">
              <a:buClr>
                <a:schemeClr val="bg1"/>
              </a:buClr>
              <a:buFont typeface="Arial" panose="020B0604020202020204" pitchFamily="34" charset="0"/>
              <a:buChar char="̶"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chemeClr val="bg1"/>
              </a:buClr>
              <a:buFont typeface="Arial" panose="020B0604020202020204" pitchFamily="34" charset="0"/>
              <a:buChar char="̶"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 dirty="0"/>
              <a:t>První úroveň textu</a:t>
            </a:r>
          </a:p>
          <a:p>
            <a:pPr lvl="1"/>
            <a:r>
              <a:rPr lang="cs-CZ" dirty="0"/>
              <a:t>Druhá úroveň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66B19D25-1138-4220-A44A-0D4B63C96D9E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3" name="Skupina 12">
              <a:extLst>
                <a:ext uri="{FF2B5EF4-FFF2-40B4-BE49-F238E27FC236}">
                  <a16:creationId xmlns:a16="http://schemas.microsoft.com/office/drawing/2014/main" id="{0039C8DB-5008-4E21-B098-C6CD2E7B851C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8" name="Grafický objekt 17">
                <a:extLst>
                  <a:ext uri="{FF2B5EF4-FFF2-40B4-BE49-F238E27FC236}">
                    <a16:creationId xmlns:a16="http://schemas.microsoft.com/office/drawing/2014/main" id="{9B900898-BE86-488C-8A9B-61767CCBF73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9" name="Grafický objekt 18">
                <a:extLst>
                  <a:ext uri="{FF2B5EF4-FFF2-40B4-BE49-F238E27FC236}">
                    <a16:creationId xmlns:a16="http://schemas.microsoft.com/office/drawing/2014/main" id="{ED01BC9A-8599-4D60-8836-E630D56FCE4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7" name="Obrázek 16" descr="Obsah obrázku kreslení&#10;&#10;Popis byl vytvořen automaticky">
              <a:extLst>
                <a:ext uri="{FF2B5EF4-FFF2-40B4-BE49-F238E27FC236}">
                  <a16:creationId xmlns:a16="http://schemas.microsoft.com/office/drawing/2014/main" id="{7ECBA0B5-8E5C-4967-8167-2D88E70CA7E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0" name="Nadpis 1">
            <a:extLst>
              <a:ext uri="{FF2B5EF4-FFF2-40B4-BE49-F238E27FC236}">
                <a16:creationId xmlns:a16="http://schemas.microsoft.com/office/drawing/2014/main" id="{42724F13-0F34-4D06-9D65-59247B61DE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9297738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1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20" name="Obrázek 19" descr="Obsah obrázku kreslení&#10;&#10;Popis byl vytvořen automaticky">
            <a:extLst>
              <a:ext uri="{FF2B5EF4-FFF2-40B4-BE49-F238E27FC236}">
                <a16:creationId xmlns:a16="http://schemas.microsoft.com/office/drawing/2014/main" id="{EA3783B6-FC2A-454B-9F4B-560372C1E03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8748" y="5989948"/>
            <a:ext cx="914504" cy="619083"/>
          </a:xfrm>
          <a:prstGeom prst="rect">
            <a:avLst/>
          </a:prstGeom>
        </p:spPr>
      </p:pic>
      <p:grpSp>
        <p:nvGrpSpPr>
          <p:cNvPr id="15" name="Skupina 14">
            <a:extLst>
              <a:ext uri="{FF2B5EF4-FFF2-40B4-BE49-F238E27FC236}">
                <a16:creationId xmlns:a16="http://schemas.microsoft.com/office/drawing/2014/main" id="{92CD7EB7-A771-4FBB-B8C7-DB5D59BBB75F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F450C9B7-74DB-41E6-BE50-75396E9C66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857E4D19-AD77-4999-B9C4-830DAE3D801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24458174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16.01.2022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4322700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36425653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5" r:id="rId1"/>
    <p:sldLayoutId id="2147483656" r:id="rId2"/>
    <p:sldLayoutId id="2147483659" r:id="rId3"/>
    <p:sldLayoutId id="2147483657" r:id="rId4"/>
    <p:sldLayoutId id="2147483662" r:id="rId5"/>
    <p:sldLayoutId id="2147483661" r:id="rId6"/>
    <p:sldLayoutId id="2147483660" r:id="rId7"/>
    <p:sldLayoutId id="2147483658" r:id="rId8"/>
    <p:sldLayoutId id="2147483663" r:id="rId9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4" Type="http://schemas.openxmlformats.org/officeDocument/2006/relationships/slideLayout" Target="../slideLayouts/slideLayout9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chart" Target="../charts/chart6.xml"/><Relationship Id="rId5" Type="http://schemas.openxmlformats.org/officeDocument/2006/relationships/slideLayout" Target="../slideLayouts/slideLayout5.xml"/><Relationship Id="rId4" Type="http://schemas.openxmlformats.org/officeDocument/2006/relationships/tags" Target="../tags/tag10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.xml"/><Relationship Id="rId3" Type="http://schemas.openxmlformats.org/officeDocument/2006/relationships/tags" Target="../tags/tag13.xml"/><Relationship Id="rId7" Type="http://schemas.openxmlformats.org/officeDocument/2006/relationships/tags" Target="../tags/tag17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tags" Target="../tags/tag16.xml"/><Relationship Id="rId11" Type="http://schemas.openxmlformats.org/officeDocument/2006/relationships/chart" Target="../charts/chart9.xml"/><Relationship Id="rId5" Type="http://schemas.openxmlformats.org/officeDocument/2006/relationships/tags" Target="../tags/tag15.xml"/><Relationship Id="rId10" Type="http://schemas.openxmlformats.org/officeDocument/2006/relationships/chart" Target="../charts/chart8.xml"/><Relationship Id="rId4" Type="http://schemas.openxmlformats.org/officeDocument/2006/relationships/tags" Target="../tags/tag14.xml"/><Relationship Id="rId9" Type="http://schemas.openxmlformats.org/officeDocument/2006/relationships/chart" Target="../charts/chart7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tags" Target="../tags/tag25.xml"/><Relationship Id="rId3" Type="http://schemas.openxmlformats.org/officeDocument/2006/relationships/tags" Target="../tags/tag20.xml"/><Relationship Id="rId7" Type="http://schemas.openxmlformats.org/officeDocument/2006/relationships/tags" Target="../tags/tag24.xml"/><Relationship Id="rId12" Type="http://schemas.openxmlformats.org/officeDocument/2006/relationships/chart" Target="../charts/chart12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tags" Target="../tags/tag23.xml"/><Relationship Id="rId11" Type="http://schemas.openxmlformats.org/officeDocument/2006/relationships/chart" Target="../charts/chart11.xml"/><Relationship Id="rId5" Type="http://schemas.openxmlformats.org/officeDocument/2006/relationships/tags" Target="../tags/tag22.xml"/><Relationship Id="rId10" Type="http://schemas.openxmlformats.org/officeDocument/2006/relationships/chart" Target="../charts/chart10.xml"/><Relationship Id="rId4" Type="http://schemas.openxmlformats.org/officeDocument/2006/relationships/tags" Target="../tags/tag21.xml"/><Relationship Id="rId9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chart" Target="../charts/chart14.xml"/><Relationship Id="rId5" Type="http://schemas.openxmlformats.org/officeDocument/2006/relationships/chart" Target="../charts/chart13.xml"/><Relationship Id="rId4" Type="http://schemas.openxmlformats.org/officeDocument/2006/relationships/slideLayout" Target="../slideLayouts/slideLayout5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6" Type="http://schemas.openxmlformats.org/officeDocument/2006/relationships/chart" Target="../charts/chart16.xml"/><Relationship Id="rId5" Type="http://schemas.openxmlformats.org/officeDocument/2006/relationships/chart" Target="../charts/chart15.xml"/><Relationship Id="rId4" Type="http://schemas.openxmlformats.org/officeDocument/2006/relationships/slideLayout" Target="../slideLayouts/slideLayout5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7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8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5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9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4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35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4" Type="http://schemas.openxmlformats.org/officeDocument/2006/relationships/chart" Target="../charts/chart20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38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1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9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2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0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3.xml"/><Relationship Id="rId1" Type="http://schemas.openxmlformats.org/officeDocument/2006/relationships/slideLayout" Target="../slideLayouts/slideLayout5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4.xml"/><Relationship Id="rId1" Type="http://schemas.openxmlformats.org/officeDocument/2006/relationships/slideLayout" Target="../slideLayouts/slideLayout5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5.xml"/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6.xml"/><Relationship Id="rId1" Type="http://schemas.openxmlformats.org/officeDocument/2006/relationships/slideLayout" Target="../slideLayouts/slideLayout5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7.xml"/><Relationship Id="rId1" Type="http://schemas.openxmlformats.org/officeDocument/2006/relationships/slideLayout" Target="../slideLayouts/slideLayout5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8.xml"/><Relationship Id="rId1" Type="http://schemas.openxmlformats.org/officeDocument/2006/relationships/slideLayout" Target="../slideLayouts/slideLayout5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9.xml"/><Relationship Id="rId1" Type="http://schemas.openxmlformats.org/officeDocument/2006/relationships/slideLayout" Target="../slideLayouts/slideLayout5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0.xml"/><Relationship Id="rId1" Type="http://schemas.openxmlformats.org/officeDocument/2006/relationships/slideLayout" Target="../slideLayouts/slideLayout5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1.xml"/><Relationship Id="rId1" Type="http://schemas.openxmlformats.org/officeDocument/2006/relationships/slideLayout" Target="../slideLayouts/slideLayout5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2.xml"/><Relationship Id="rId1" Type="http://schemas.openxmlformats.org/officeDocument/2006/relationships/slideLayout" Target="../slideLayouts/slideLayout5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3.xml"/><Relationship Id="rId1" Type="http://schemas.openxmlformats.org/officeDocument/2006/relationships/slideLayout" Target="../slideLayouts/slideLayout5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4.xml"/><Relationship Id="rId1" Type="http://schemas.openxmlformats.org/officeDocument/2006/relationships/slideLayout" Target="../slideLayouts/slideLayout5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5.xml"/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5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6.xml"/><Relationship Id="rId1" Type="http://schemas.openxmlformats.org/officeDocument/2006/relationships/slideLayout" Target="../slideLayouts/slideLayout5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7.xml"/><Relationship Id="rId1" Type="http://schemas.openxmlformats.org/officeDocument/2006/relationships/slideLayout" Target="../slideLayouts/slideLayout5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8.xml"/><Relationship Id="rId1" Type="http://schemas.openxmlformats.org/officeDocument/2006/relationships/slideLayout" Target="../slideLayouts/slideLayout5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9.xml"/><Relationship Id="rId1" Type="http://schemas.openxmlformats.org/officeDocument/2006/relationships/slideLayout" Target="../slideLayouts/slideLayout5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0.xml"/><Relationship Id="rId1" Type="http://schemas.openxmlformats.org/officeDocument/2006/relationships/slideLayout" Target="../slideLayouts/slideLayout5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2.xml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Nadpis 3">
            <a:extLst>
              <a:ext uri="{FF2B5EF4-FFF2-40B4-BE49-F238E27FC236}">
                <a16:creationId xmlns:a16="http://schemas.microsoft.com/office/drawing/2014/main" id="{967A564D-817A-482D-8BCC-FCE2C62830D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49479" y="2503487"/>
            <a:ext cx="10630969" cy="1189622"/>
          </a:xfrm>
        </p:spPr>
        <p:txBody>
          <a:bodyPr/>
          <a:lstStyle/>
          <a:p>
            <a:r>
              <a:rPr lang="cs-CZ" dirty="0"/>
              <a:t>Datová a informační základna </a:t>
            </a:r>
            <a:br>
              <a:rPr lang="cs-CZ" dirty="0"/>
            </a:br>
            <a:r>
              <a:rPr lang="cs-CZ" dirty="0"/>
              <a:t>pro management pandemie COVID-19</a:t>
            </a:r>
          </a:p>
        </p:txBody>
      </p:sp>
      <p:sp>
        <p:nvSpPr>
          <p:cNvPr id="5" name="Podnadpis 4">
            <a:extLst>
              <a:ext uri="{FF2B5EF4-FFF2-40B4-BE49-F238E27FC236}">
                <a16:creationId xmlns:a16="http://schemas.microsoft.com/office/drawing/2014/main" id="{ECB71022-B988-48D8-A571-213CB90D2BB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27703" y="4066289"/>
            <a:ext cx="9869424" cy="1564690"/>
          </a:xfrm>
        </p:spPr>
        <p:txBody>
          <a:bodyPr>
            <a:noAutofit/>
          </a:bodyPr>
          <a:lstStyle/>
          <a:p>
            <a:r>
              <a:rPr lang="cs-CZ" sz="4000" b="1" dirty="0">
                <a:solidFill>
                  <a:schemeClr val="tx1"/>
                </a:solidFill>
              </a:rPr>
              <a:t>Ohniska nákazy a individuální přehledy </a:t>
            </a:r>
          </a:p>
          <a:p>
            <a:r>
              <a:rPr lang="cs-CZ" sz="4000" b="1" dirty="0">
                <a:solidFill>
                  <a:schemeClr val="tx1"/>
                </a:solidFill>
              </a:rPr>
              <a:t>o nákazách v zařízeních sociálních </a:t>
            </a:r>
          </a:p>
          <a:p>
            <a:r>
              <a:rPr lang="cs-CZ" sz="4000" b="1" dirty="0">
                <a:solidFill>
                  <a:schemeClr val="tx1"/>
                </a:solidFill>
              </a:rPr>
              <a:t>služeb</a:t>
            </a:r>
          </a:p>
        </p:txBody>
      </p:sp>
    </p:spTree>
    <p:extLst>
      <p:ext uri="{BB962C8B-B14F-4D97-AF65-F5344CB8AC3E}">
        <p14:creationId xmlns:p14="http://schemas.microsoft.com/office/powerpoint/2010/main" val="345460425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09563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15. 12. 2021 – 15. 1. 2022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7F70C8D4-8774-4E44-8C03-00FA24FACFDA}"/>
              </a:ext>
            </a:extLst>
          </p:cNvPr>
          <p:cNvSpPr txBox="1"/>
          <p:nvPr/>
        </p:nvSpPr>
        <p:spPr>
          <a:xfrm>
            <a:off x="8283389" y="6516527"/>
            <a:ext cx="38106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, 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v k 15. 1. 2022</a:t>
            </a:r>
          </a:p>
        </p:txBody>
      </p:sp>
      <p:graphicFrame>
        <p:nvGraphicFramePr>
          <p:cNvPr id="9" name="Tabulka 8">
            <a:extLst>
              <a:ext uri="{FF2B5EF4-FFF2-40B4-BE49-F238E27FC236}">
                <a16:creationId xmlns:a16="http://schemas.microsoft.com/office/drawing/2014/main" id="{AFF2C759-F814-4407-BA8B-625101FFEF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49371189"/>
              </p:ext>
            </p:extLst>
          </p:nvPr>
        </p:nvGraphicFramePr>
        <p:xfrm>
          <a:off x="1372685" y="1009674"/>
          <a:ext cx="9684753" cy="5503168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325938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183058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 dirty="0">
                          <a:effectLst/>
                        </a:rPr>
                        <a:t>Datum</a:t>
                      </a:r>
                      <a:endParaRPr lang="cs-CZ" sz="12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Název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Počet nakažených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17733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ový dům K srdci klíč Most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17733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sv. Karla Boromejského, K Šancím 50, Praha 6 Řep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17733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Horní Branná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17733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 - pečovatelský dům U Jakuba II, Červený Kostelec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17733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ům humanity - Azylový dů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522887529"/>
                  </a:ext>
                </a:extLst>
              </a:tr>
              <a:tr h="17733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aritní domov Moravec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722747539"/>
                  </a:ext>
                </a:extLst>
              </a:tr>
              <a:tr h="17733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ečovatelská služby RUAH Beneš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053868139"/>
                  </a:ext>
                </a:extLst>
              </a:tr>
              <a:tr h="17733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SVKŘÍŽEKM21 K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147237985"/>
                  </a:ext>
                </a:extLst>
              </a:tr>
              <a:tr h="17733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UMORAVYKM21 K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079742434"/>
                  </a:ext>
                </a:extLst>
              </a:tr>
              <a:tr h="17733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ZPVALMEZ21 VS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79170398"/>
                  </a:ext>
                </a:extLst>
              </a:tr>
              <a:tr h="17733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PASVIZOVICE21 ZL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354812885"/>
                  </a:ext>
                </a:extLst>
              </a:tr>
              <a:tr h="17733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ZP Dolní Počern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815832265"/>
                  </a:ext>
                </a:extLst>
              </a:tr>
              <a:tr h="17733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ohoda Netol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898278122"/>
                  </a:ext>
                </a:extLst>
              </a:tr>
              <a:tr h="17733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Světl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36165555"/>
                  </a:ext>
                </a:extLst>
              </a:tr>
              <a:tr h="17733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H Nemocnice Vimper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835636792"/>
                  </a:ext>
                </a:extLst>
              </a:tr>
              <a:tr h="17733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luster  Loucký Mlý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708858216"/>
                  </a:ext>
                </a:extLst>
              </a:tr>
              <a:tr h="17733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ZEIMER HOME Ostrov - K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768729976"/>
                  </a:ext>
                </a:extLst>
              </a:tr>
              <a:tr h="17733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KS SVATAVA - S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71434954"/>
                  </a:ext>
                </a:extLst>
              </a:tr>
              <a:tr h="17733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P Rychnov 5 - S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349807813"/>
                  </a:ext>
                </a:extLst>
              </a:tr>
              <a:tr h="17733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luster  CPS Vodňan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496458843"/>
                  </a:ext>
                </a:extLst>
              </a:tr>
              <a:tr h="17733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ZPZAŠOVÁ21 VS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896120778"/>
                  </a:ext>
                </a:extLst>
              </a:tr>
              <a:tr h="17733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GAPO Bruntál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242835001"/>
                  </a:ext>
                </a:extLst>
              </a:tr>
              <a:tr h="17733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Šluknov-Krásná Lípa p.o.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069029633"/>
                  </a:ext>
                </a:extLst>
              </a:tr>
              <a:tr h="17733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Severka Jiřík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173075400"/>
                  </a:ext>
                </a:extLst>
              </a:tr>
              <a:tr h="17733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1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D Hluboká nad Vltavou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943765106"/>
                  </a:ext>
                </a:extLst>
              </a:tr>
              <a:tr h="17733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1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Libnič a Centrum sociálních služeb Empati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564100000"/>
                  </a:ext>
                </a:extLst>
              </a:tr>
              <a:tr h="17733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1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Dač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67637571"/>
                  </a:ext>
                </a:extLst>
              </a:tr>
              <a:tr h="17733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1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ový dům Ječmínek ZR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859814256"/>
                  </a:ext>
                </a:extLst>
              </a:tr>
              <a:tr h="17733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1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Důchodců s.Zdislav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998455694"/>
                  </a:ext>
                </a:extLst>
              </a:tr>
              <a:tr h="17733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1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sv. Ludmil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6043535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Nadpis 3">
            <a:extLst>
              <a:ext uri="{FF2B5EF4-FFF2-40B4-BE49-F238E27FC236}">
                <a16:creationId xmlns:a16="http://schemas.microsoft.com/office/drawing/2014/main" id="{967A564D-817A-482D-8BCC-FCE2C62830D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49479" y="2503487"/>
            <a:ext cx="10630969" cy="1189622"/>
          </a:xfrm>
        </p:spPr>
        <p:txBody>
          <a:bodyPr/>
          <a:lstStyle/>
          <a:p>
            <a:r>
              <a:rPr lang="cs-CZ" dirty="0"/>
              <a:t>Datová a informační základna </a:t>
            </a:r>
            <a:br>
              <a:rPr lang="cs-CZ" dirty="0"/>
            </a:br>
            <a:r>
              <a:rPr lang="cs-CZ" dirty="0"/>
              <a:t>pro management pandemie COVID-19</a:t>
            </a:r>
          </a:p>
        </p:txBody>
      </p:sp>
      <p:sp>
        <p:nvSpPr>
          <p:cNvPr id="5" name="Podnadpis 4">
            <a:extLst>
              <a:ext uri="{FF2B5EF4-FFF2-40B4-BE49-F238E27FC236}">
                <a16:creationId xmlns:a16="http://schemas.microsoft.com/office/drawing/2014/main" id="{ECB71022-B988-48D8-A571-213CB90D2BB5}"/>
              </a:ext>
            </a:extLst>
          </p:cNvPr>
          <p:cNvSpPr>
            <a:spLocks noGrp="1"/>
          </p:cNvSpPr>
          <p:nvPr>
            <p:ph type="subTitle" idx="1"/>
            <p:custDataLst>
              <p:tags r:id="rId1"/>
            </p:custDataLst>
          </p:nvPr>
        </p:nvSpPr>
        <p:spPr>
          <a:xfrm>
            <a:off x="1075944" y="3790246"/>
            <a:ext cx="9869424" cy="1564690"/>
          </a:xfrm>
        </p:spPr>
        <p:txBody>
          <a:bodyPr>
            <a:normAutofit/>
          </a:bodyPr>
          <a:lstStyle/>
          <a:p>
            <a:r>
              <a:rPr lang="cs-CZ" sz="3600" b="1" dirty="0">
                <a:solidFill>
                  <a:srgbClr val="C00000"/>
                </a:solidFill>
              </a:rPr>
              <a:t>Nákaza COVID-19 v zařízeních </a:t>
            </a:r>
          </a:p>
          <a:p>
            <a:r>
              <a:rPr lang="cs-CZ" sz="3600" b="1" dirty="0">
                <a:solidFill>
                  <a:srgbClr val="C00000"/>
                </a:solidFill>
              </a:rPr>
              <a:t>sociálních služeb </a:t>
            </a:r>
          </a:p>
        </p:txBody>
      </p:sp>
      <p:sp>
        <p:nvSpPr>
          <p:cNvPr id="2" name="TextovéPole 1"/>
          <p:cNvSpPr txBox="1"/>
          <p:nvPr/>
        </p:nvSpPr>
        <p:spPr>
          <a:xfrm>
            <a:off x="3608199" y="5354936"/>
            <a:ext cx="4804913" cy="369332"/>
          </a:xfrm>
          <a:prstGeom prst="rect">
            <a:avLst/>
          </a:prstGeom>
          <a:solidFill>
            <a:schemeClr val="accent2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dividuálně hlášené případy 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625835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ovéPole 5"/>
          <p:cNvSpPr txBox="1"/>
          <p:nvPr>
            <p:custDataLst>
              <p:tags r:id="rId1"/>
            </p:custDataLst>
          </p:nvPr>
        </p:nvSpPr>
        <p:spPr>
          <a:xfrm>
            <a:off x="237831" y="622249"/>
            <a:ext cx="11327021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lášení o šíření nákazy v pobytových sociálních službách je ze strany poskytovatelů reprezentativní, celý systém dosahuje více než 81% pokrytí tohoto segmentu péče. Za celé období sledování od podzimu 2020 bylo registrováno přes 24 500 nakažených klientů a více než 17 500 nakažených pracovníků. Hlášení o úmrtích COVID pozitivních klientů přesáhlo 3 400, pracovníků zemřelo 21. </a:t>
            </a:r>
          </a:p>
        </p:txBody>
      </p:sp>
      <p:sp>
        <p:nvSpPr>
          <p:cNvPr id="5" name="Šipka dolů 4"/>
          <p:cNvSpPr/>
          <p:nvPr/>
        </p:nvSpPr>
        <p:spPr>
          <a:xfrm>
            <a:off x="5353656" y="1948875"/>
            <a:ext cx="1095375" cy="538018"/>
          </a:xfrm>
          <a:prstGeom prst="downArrow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TextovéPole 7"/>
          <p:cNvSpPr txBox="1"/>
          <p:nvPr>
            <p:custDataLst>
              <p:tags r:id="rId2"/>
            </p:custDataLst>
          </p:nvPr>
        </p:nvSpPr>
        <p:spPr>
          <a:xfrm>
            <a:off x="7618" y="2483419"/>
            <a:ext cx="11787448" cy="24622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 listopadu byl z těchto individuálních hlášení patrný nárůst počtu nakažených ve srovnání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 říjnem 2021. Tato data tedy nezávisle potvrzují nálezy zjištěné epidemiologickými šetřeními ze strany KHS. Za měsíc listopad bylo nahlášeno 949 nákaz pracovníků a 818 nákaz klientů pobytových sociálních služeb. Počet hlášených úmrtí klientů dosáhnul v listopadu hodnoty 112. Ačkoli šlo o výrazný nárůst, stále se jednalo o počty významně nižší než v zimních až jarních měsících 2021. Za prosinec bylo dosud na bázi přímého hlášení od poskytovatelů sociálních služeb </a:t>
            </a:r>
            <a:r>
              <a:rPr kumimoji="0" lang="cs-CZ" sz="22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gistrováno 568 nákaz </a:t>
            </a: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 personálu a 402 nákaz u klientů. Celkem </a:t>
            </a:r>
            <a:r>
              <a:rPr lang="cs-CZ" sz="2200" b="1" dirty="0">
                <a:latin typeface="Calibri" panose="020F0502020204030204"/>
              </a:rPr>
              <a:t>70</a:t>
            </a: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akažených klientů zemřelo. </a:t>
            </a:r>
            <a:endParaRPr kumimoji="0" lang="cs-CZ" sz="22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Šipka dolů 4">
            <a:extLst>
              <a:ext uri="{FF2B5EF4-FFF2-40B4-BE49-F238E27FC236}">
                <a16:creationId xmlns:a16="http://schemas.microsoft.com/office/drawing/2014/main" id="{5B31F110-680C-4708-9C37-E3C235162FCA}"/>
              </a:ext>
            </a:extLst>
          </p:cNvPr>
          <p:cNvSpPr/>
          <p:nvPr/>
        </p:nvSpPr>
        <p:spPr>
          <a:xfrm>
            <a:off x="5353656" y="4967765"/>
            <a:ext cx="1095375" cy="538018"/>
          </a:xfrm>
          <a:prstGeom prst="downArrow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TextovéPole 8">
            <a:extLst>
              <a:ext uri="{FF2B5EF4-FFF2-40B4-BE49-F238E27FC236}">
                <a16:creationId xmlns:a16="http://schemas.microsoft.com/office/drawing/2014/main" id="{757E8C22-BEEA-45FF-855F-3C6D2A985145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-75509" y="5631707"/>
            <a:ext cx="11787448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 lednu bylo dosud nahlášeno 127 případů nákazy personálu a 52 klientů, </a:t>
            </a:r>
            <a:r>
              <a:rPr lang="cs-CZ" sz="2200" b="1" dirty="0">
                <a:solidFill>
                  <a:srgbClr val="0000FF"/>
                </a:solidFill>
                <a:latin typeface="Calibri" panose="020F0502020204030204"/>
              </a:rPr>
              <a:t>z nichž 11 zemřelo. </a:t>
            </a: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ty případů s těžkým průběhem nákazy, zejména vyžadujícím hospitalizaci, zůstávají nízké,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 jednotkách případů denně v celé </a:t>
            </a:r>
            <a:r>
              <a:rPr lang="cs-CZ" sz="2200" b="1" dirty="0">
                <a:solidFill>
                  <a:srgbClr val="0000FF"/>
                </a:solidFill>
                <a:latin typeface="Calibri" panose="020F0502020204030204"/>
              </a:rPr>
              <a:t>Č</a:t>
            </a: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. </a:t>
            </a:r>
            <a:endParaRPr kumimoji="0" lang="cs-CZ" sz="2200" b="0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Podnadpis 4">
            <a:extLst>
              <a:ext uri="{FF2B5EF4-FFF2-40B4-BE49-F238E27FC236}">
                <a16:creationId xmlns:a16="http://schemas.microsoft.com/office/drawing/2014/main" id="{8B62E79B-CD80-47C0-8863-8E66984EC330}"/>
              </a:ext>
            </a:extLst>
          </p:cNvPr>
          <p:cNvSpPr txBox="1">
            <a:spLocks/>
          </p:cNvSpPr>
          <p:nvPr/>
        </p:nvSpPr>
        <p:spPr>
          <a:xfrm>
            <a:off x="266699" y="118297"/>
            <a:ext cx="11658601" cy="60367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cs-CZ" sz="3400" b="1" dirty="0"/>
              <a:t>Hlášení poskytovatelů: souhrn vývoje od podzimu 2021</a:t>
            </a:r>
          </a:p>
        </p:txBody>
      </p:sp>
    </p:spTree>
    <p:extLst>
      <p:ext uri="{BB962C8B-B14F-4D97-AF65-F5344CB8AC3E}">
        <p14:creationId xmlns:p14="http://schemas.microsoft.com/office/powerpoint/2010/main" val="146222419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abulka 13">
            <a:extLst>
              <a:ext uri="{FF2B5EF4-FFF2-40B4-BE49-F238E27FC236}">
                <a16:creationId xmlns:a16="http://schemas.microsoft.com/office/drawing/2014/main" id="{4046FEE0-D8D1-4831-AB60-A1F7DA460B1D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29046122"/>
              </p:ext>
            </p:extLst>
          </p:nvPr>
        </p:nvGraphicFramePr>
        <p:xfrm>
          <a:off x="2093976" y="3310410"/>
          <a:ext cx="8649221" cy="3202305"/>
        </p:xfrm>
        <a:graphic>
          <a:graphicData uri="http://schemas.openxmlformats.org/drawingml/2006/table">
            <a:tbl>
              <a:tblPr firstRow="1" firstCol="1" bandRow="1">
                <a:tableStyleId>{69012ECD-51FC-41F1-AA8D-1B2483CD663E}</a:tableStyleId>
              </a:tblPr>
              <a:tblGrid>
                <a:gridCol w="2391567">
                  <a:extLst>
                    <a:ext uri="{9D8B030D-6E8A-4147-A177-3AD203B41FA5}">
                      <a16:colId xmlns:a16="http://schemas.microsoft.com/office/drawing/2014/main" val="2551148758"/>
                    </a:ext>
                  </a:extLst>
                </a:gridCol>
                <a:gridCol w="1256029">
                  <a:extLst>
                    <a:ext uri="{9D8B030D-6E8A-4147-A177-3AD203B41FA5}">
                      <a16:colId xmlns:a16="http://schemas.microsoft.com/office/drawing/2014/main" val="2213013832"/>
                    </a:ext>
                  </a:extLst>
                </a:gridCol>
                <a:gridCol w="1611850">
                  <a:extLst>
                    <a:ext uri="{9D8B030D-6E8A-4147-A177-3AD203B41FA5}">
                      <a16:colId xmlns:a16="http://schemas.microsoft.com/office/drawing/2014/main" val="4088924505"/>
                    </a:ext>
                  </a:extLst>
                </a:gridCol>
                <a:gridCol w="1343884">
                  <a:extLst>
                    <a:ext uri="{9D8B030D-6E8A-4147-A177-3AD203B41FA5}">
                      <a16:colId xmlns:a16="http://schemas.microsoft.com/office/drawing/2014/main" val="607463107"/>
                    </a:ext>
                  </a:extLst>
                </a:gridCol>
                <a:gridCol w="2045891">
                  <a:extLst>
                    <a:ext uri="{9D8B030D-6E8A-4147-A177-3AD203B41FA5}">
                      <a16:colId xmlns:a16="http://schemas.microsoft.com/office/drawing/2014/main" val="1349585136"/>
                    </a:ext>
                  </a:extLst>
                </a:gridCol>
              </a:tblGrid>
              <a:tr h="205440"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 dirty="0">
                          <a:effectLst/>
                        </a:rPr>
                        <a:t>Zařízení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>
                          <a:effectLst/>
                        </a:rPr>
                        <a:t>Klienti</a:t>
                      </a:r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 dirty="0">
                          <a:effectLst/>
                        </a:rPr>
                        <a:t>Pracovníci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1100" u="none" strike="noStrike" dirty="0">
                          <a:effectLst/>
                        </a:rPr>
                        <a:t>Zadávání do ISIN: pokrytí v % z hlediska osob </a:t>
                      </a:r>
                      <a:endParaRPr lang="pl-PL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59643184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lavní město Praha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23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33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6,14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3733338989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tředočeský kraj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7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19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97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0,83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42476629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Jihočeský kraj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97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60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5,27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639332038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lzeňský kraj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41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07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7,60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875146222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arlovarský kraj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90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86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8,00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3415411584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Ústecký kraj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3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98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37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3,75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3159723162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iberecký kraj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28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55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8,19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390187794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rálovéhradecký kraj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08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28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5,32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593839963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ardubický kraj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12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41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4,61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107271760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raj Vysočina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02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15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6,81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833514515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Jihomoravský kraj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89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27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9,71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427956534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lomoucký kraj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55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74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9,35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34067274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Zlínský kraj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08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45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1,17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4199306866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oravskoslezský kraj</a:t>
                      </a:r>
                    </a:p>
                  </a:txBody>
                  <a:tcPr marL="7620" marR="7620" marT="7620" marB="0" anchor="b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48</a:t>
                      </a:r>
                    </a:p>
                  </a:txBody>
                  <a:tcPr marL="7620" marR="7620" marT="7620" marB="0" anchor="ctr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777</a:t>
                      </a:r>
                    </a:p>
                  </a:txBody>
                  <a:tcPr marL="7620" marR="7620" marT="7620" marB="0" anchor="ctr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464</a:t>
                      </a:r>
                    </a:p>
                  </a:txBody>
                  <a:tcPr marL="7620" marR="7620" marT="7620" marB="0" anchor="ctr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2,72%</a:t>
                      </a:r>
                    </a:p>
                  </a:txBody>
                  <a:tcPr marL="7620" marR="7620" marT="7620" marB="0" anchor="ctr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06413794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ČR</a:t>
                      </a:r>
                    </a:p>
                  </a:txBody>
                  <a:tcPr marL="7620" marR="7620" marT="7620" marB="0" anchor="b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160</a:t>
                      </a:r>
                    </a:p>
                  </a:txBody>
                  <a:tcPr marL="7620" marR="7620" marT="7620" marB="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7 547</a:t>
                      </a:r>
                    </a:p>
                  </a:txBody>
                  <a:tcPr marL="7620" marR="7620" marT="7620" marB="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2 575</a:t>
                      </a:r>
                    </a:p>
                  </a:txBody>
                  <a:tcPr marL="7620" marR="7620" marT="7620" marB="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1,78%</a:t>
                      </a:r>
                    </a:p>
                  </a:txBody>
                  <a:tcPr marL="7620" marR="7620" marT="7620" marB="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2607979411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6373"/>
            <a:ext cx="7625669" cy="576000"/>
          </a:xfrm>
        </p:spPr>
        <p:txBody>
          <a:bodyPr>
            <a:noAutofit/>
          </a:bodyPr>
          <a:lstStyle/>
          <a:p>
            <a:r>
              <a:rPr lang="cs-CZ" dirty="0"/>
              <a:t>Souhrn situace v sociálních zařízeních pobytových služeb </a:t>
            </a:r>
          </a:p>
        </p:txBody>
      </p:sp>
      <p:sp>
        <p:nvSpPr>
          <p:cNvPr id="3" name="Šipka doprava 2"/>
          <p:cNvSpPr/>
          <p:nvPr/>
        </p:nvSpPr>
        <p:spPr>
          <a:xfrm>
            <a:off x="4078224" y="1341581"/>
            <a:ext cx="1280160" cy="850392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8FB02E70-00BE-4217-BFFA-D3CA15770A94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264696" y="907544"/>
            <a:ext cx="3661845" cy="36933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 24.1.2020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ylo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v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abázi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MPSV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edeno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4 438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ařízení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 s</a:t>
            </a:r>
            <a:r>
              <a:rPr kumimoji="0" lang="sk-SK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 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77 547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lienty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a 102 575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acovníky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(Tyto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údaje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ejsou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u</a:t>
            </a:r>
            <a:r>
              <a:rPr kumimoji="0" lang="sk-SK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 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šech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ařízení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adány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). Z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ohoto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tu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jich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adává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do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ociálního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odulu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ISIN 1724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ařízení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 Z</a:t>
            </a:r>
            <a:r>
              <a:rPr kumimoji="0" lang="sk-SK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 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lediska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sob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je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krytí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81,8%												</a:t>
            </a:r>
          </a:p>
        </p:txBody>
      </p:sp>
      <p:graphicFrame>
        <p:nvGraphicFramePr>
          <p:cNvPr id="28" name="Graf 27">
            <a:extLst>
              <a:ext uri="{FF2B5EF4-FFF2-40B4-BE49-F238E27FC236}">
                <a16:creationId xmlns:a16="http://schemas.microsoft.com/office/drawing/2014/main" id="{070C962C-17CB-4943-9A26-6B0649A6731C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76567234"/>
              </p:ext>
            </p:extLst>
          </p:nvPr>
        </p:nvGraphicFramePr>
        <p:xfrm>
          <a:off x="6192046" y="713780"/>
          <a:ext cx="3858770" cy="23459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31" name="Obdélník 30">
            <a:extLst>
              <a:ext uri="{FF2B5EF4-FFF2-40B4-BE49-F238E27FC236}">
                <a16:creationId xmlns:a16="http://schemas.microsoft.com/office/drawing/2014/main" id="{AE754366-DA2D-456F-993B-3DC23336EE76}"/>
              </a:ext>
            </a:extLst>
          </p:cNvPr>
          <p:cNvSpPr/>
          <p:nvPr/>
        </p:nvSpPr>
        <p:spPr>
          <a:xfrm>
            <a:off x="10368318" y="1371074"/>
            <a:ext cx="232229" cy="22235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2" name="Obdélník 31">
            <a:extLst>
              <a:ext uri="{FF2B5EF4-FFF2-40B4-BE49-F238E27FC236}">
                <a16:creationId xmlns:a16="http://schemas.microsoft.com/office/drawing/2014/main" id="{49C1BC83-8B2D-4CEB-9068-2C41D10CA1AC}"/>
              </a:ext>
            </a:extLst>
          </p:cNvPr>
          <p:cNvSpPr/>
          <p:nvPr/>
        </p:nvSpPr>
        <p:spPr>
          <a:xfrm>
            <a:off x="10368317" y="1888577"/>
            <a:ext cx="232229" cy="222358"/>
          </a:xfrm>
          <a:prstGeom prst="rect">
            <a:avLst/>
          </a:prstGeom>
          <a:solidFill>
            <a:srgbClr val="30598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3" name="TextovéPole 32">
            <a:extLst>
              <a:ext uri="{FF2B5EF4-FFF2-40B4-BE49-F238E27FC236}">
                <a16:creationId xmlns:a16="http://schemas.microsoft.com/office/drawing/2014/main" id="{A97C3952-A85E-447F-A446-C31B07748CAD}"/>
              </a:ext>
            </a:extLst>
          </p:cNvPr>
          <p:cNvSpPr txBox="1"/>
          <p:nvPr/>
        </p:nvSpPr>
        <p:spPr>
          <a:xfrm>
            <a:off x="10635556" y="1338037"/>
            <a:ext cx="1473480" cy="132343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adávají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ezadávají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o sociálního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odulu v ISIN</a:t>
            </a:r>
          </a:p>
        </p:txBody>
      </p:sp>
      <p:sp>
        <p:nvSpPr>
          <p:cNvPr id="11" name="TextovéPole 10">
            <a:extLst>
              <a:ext uri="{FF2B5EF4-FFF2-40B4-BE49-F238E27FC236}">
                <a16:creationId xmlns:a16="http://schemas.microsoft.com/office/drawing/2014/main" id="{C809B18B-7C7D-43CA-B6B5-0397532BC5CE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3095626" y="6583202"/>
            <a:ext cx="63722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ISIN a ISIN – modul sociálních služeb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2856923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abulka 14">
            <a:extLst>
              <a:ext uri="{FF2B5EF4-FFF2-40B4-BE49-F238E27FC236}">
                <a16:creationId xmlns:a16="http://schemas.microsoft.com/office/drawing/2014/main" id="{0299713B-111D-4B25-B8CB-B6E1B62ADA57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79010825"/>
              </p:ext>
            </p:extLst>
          </p:nvPr>
        </p:nvGraphicFramePr>
        <p:xfrm>
          <a:off x="1563624" y="3303770"/>
          <a:ext cx="10232136" cy="3302770"/>
        </p:xfrm>
        <a:graphic>
          <a:graphicData uri="http://schemas.openxmlformats.org/drawingml/2006/table">
            <a:tbl>
              <a:tblPr firstRow="1" firstCol="1">
                <a:tableStyleId>{B301B821-A1FF-4177-AEE7-76D212191A09}</a:tableStyleId>
              </a:tblPr>
              <a:tblGrid>
                <a:gridCol w="1976410">
                  <a:extLst>
                    <a:ext uri="{9D8B030D-6E8A-4147-A177-3AD203B41FA5}">
                      <a16:colId xmlns:a16="http://schemas.microsoft.com/office/drawing/2014/main" val="1751799772"/>
                    </a:ext>
                  </a:extLst>
                </a:gridCol>
                <a:gridCol w="892342">
                  <a:extLst>
                    <a:ext uri="{9D8B030D-6E8A-4147-A177-3AD203B41FA5}">
                      <a16:colId xmlns:a16="http://schemas.microsoft.com/office/drawing/2014/main" val="902193333"/>
                    </a:ext>
                  </a:extLst>
                </a:gridCol>
                <a:gridCol w="920423">
                  <a:extLst>
                    <a:ext uri="{9D8B030D-6E8A-4147-A177-3AD203B41FA5}">
                      <a16:colId xmlns:a16="http://schemas.microsoft.com/office/drawing/2014/main" val="3644895328"/>
                    </a:ext>
                  </a:extLst>
                </a:gridCol>
                <a:gridCol w="920423">
                  <a:extLst>
                    <a:ext uri="{9D8B030D-6E8A-4147-A177-3AD203B41FA5}">
                      <a16:colId xmlns:a16="http://schemas.microsoft.com/office/drawing/2014/main" val="1100385205"/>
                    </a:ext>
                  </a:extLst>
                </a:gridCol>
                <a:gridCol w="920423">
                  <a:extLst>
                    <a:ext uri="{9D8B030D-6E8A-4147-A177-3AD203B41FA5}">
                      <a16:colId xmlns:a16="http://schemas.microsoft.com/office/drawing/2014/main" val="2915934235"/>
                    </a:ext>
                  </a:extLst>
                </a:gridCol>
                <a:gridCol w="920423">
                  <a:extLst>
                    <a:ext uri="{9D8B030D-6E8A-4147-A177-3AD203B41FA5}">
                      <a16:colId xmlns:a16="http://schemas.microsoft.com/office/drawing/2014/main" val="612252977"/>
                    </a:ext>
                  </a:extLst>
                </a:gridCol>
                <a:gridCol w="920423">
                  <a:extLst>
                    <a:ext uri="{9D8B030D-6E8A-4147-A177-3AD203B41FA5}">
                      <a16:colId xmlns:a16="http://schemas.microsoft.com/office/drawing/2014/main" val="1466185456"/>
                    </a:ext>
                  </a:extLst>
                </a:gridCol>
                <a:gridCol w="920423">
                  <a:extLst>
                    <a:ext uri="{9D8B030D-6E8A-4147-A177-3AD203B41FA5}">
                      <a16:colId xmlns:a16="http://schemas.microsoft.com/office/drawing/2014/main" val="2750514048"/>
                    </a:ext>
                  </a:extLst>
                </a:gridCol>
                <a:gridCol w="920423">
                  <a:extLst>
                    <a:ext uri="{9D8B030D-6E8A-4147-A177-3AD203B41FA5}">
                      <a16:colId xmlns:a16="http://schemas.microsoft.com/office/drawing/2014/main" val="756592766"/>
                    </a:ext>
                  </a:extLst>
                </a:gridCol>
                <a:gridCol w="920423">
                  <a:extLst>
                    <a:ext uri="{9D8B030D-6E8A-4147-A177-3AD203B41FA5}">
                      <a16:colId xmlns:a16="http://schemas.microsoft.com/office/drawing/2014/main" val="1460982301"/>
                    </a:ext>
                  </a:extLst>
                </a:gridCol>
              </a:tblGrid>
              <a:tr h="182162"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b"/>
                </a:tc>
                <a:tc gridSpan="6"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 dirty="0">
                          <a:effectLst/>
                        </a:rPr>
                        <a:t>Kumulativní počet pozitivních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b"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 dirty="0">
                          <a:effectLst/>
                        </a:rPr>
                        <a:t>Prevalence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b"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232631"/>
                  </a:ext>
                </a:extLst>
              </a:tr>
              <a:tr h="263108"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b"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 dirty="0">
                          <a:solidFill>
                            <a:schemeClr val="bg1"/>
                          </a:solidFill>
                          <a:effectLst/>
                        </a:rPr>
                        <a:t>Klienti</a:t>
                      </a:r>
                      <a:endParaRPr lang="cs-CZ" sz="11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b"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 dirty="0">
                          <a:solidFill>
                            <a:schemeClr val="bg1"/>
                          </a:solidFill>
                          <a:effectLst/>
                        </a:rPr>
                        <a:t>Pracovníci</a:t>
                      </a:r>
                      <a:endParaRPr lang="cs-CZ" sz="11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b"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 dirty="0">
                          <a:solidFill>
                            <a:schemeClr val="bg1"/>
                          </a:solidFill>
                          <a:effectLst/>
                        </a:rPr>
                        <a:t>Celkem</a:t>
                      </a:r>
                      <a:endParaRPr lang="cs-CZ" sz="11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b"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>
                          <a:solidFill>
                            <a:schemeClr val="bg1"/>
                          </a:solidFill>
                          <a:effectLst/>
                        </a:rPr>
                        <a:t>Klienti</a:t>
                      </a:r>
                      <a:endParaRPr lang="cs-CZ" sz="1100" b="0" i="0" u="none" strike="noStrike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b"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 dirty="0">
                          <a:solidFill>
                            <a:schemeClr val="bg1"/>
                          </a:solidFill>
                          <a:effectLst/>
                        </a:rPr>
                        <a:t>Pracovníci</a:t>
                      </a:r>
                      <a:endParaRPr lang="cs-CZ" sz="11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b"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 dirty="0">
                          <a:solidFill>
                            <a:schemeClr val="bg1"/>
                          </a:solidFill>
                          <a:effectLst/>
                        </a:rPr>
                        <a:t>Celkem</a:t>
                      </a:r>
                      <a:endParaRPr lang="cs-CZ" sz="11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b"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 dirty="0">
                          <a:solidFill>
                            <a:schemeClr val="bg1"/>
                          </a:solidFill>
                          <a:effectLst/>
                        </a:rPr>
                        <a:t>Klienti</a:t>
                      </a:r>
                      <a:endParaRPr lang="cs-CZ" sz="11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b"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 dirty="0">
                          <a:solidFill>
                            <a:schemeClr val="bg1"/>
                          </a:solidFill>
                          <a:effectLst/>
                        </a:rPr>
                        <a:t>Pracovníci</a:t>
                      </a:r>
                      <a:endParaRPr lang="cs-CZ" sz="11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b"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 dirty="0">
                          <a:solidFill>
                            <a:schemeClr val="bg1"/>
                          </a:solidFill>
                          <a:effectLst/>
                        </a:rPr>
                        <a:t>Celkem</a:t>
                      </a:r>
                      <a:endParaRPr lang="cs-CZ" sz="11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b">
                    <a:solidFill>
                      <a:srgbClr val="D3114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8906633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lavní město Praha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663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74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537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,6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,5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,5%</a:t>
                      </a:r>
                    </a:p>
                  </a:txBody>
                  <a:tcPr marL="9525" marR="9525" marT="9525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 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 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41120267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tředočeský kraj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949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142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091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3,6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,8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6,3%</a:t>
                      </a:r>
                    </a:p>
                  </a:txBody>
                  <a:tcPr marL="9525" marR="9525" marT="9525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 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171681168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Jihočeský kraj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161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654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815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0,0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,7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,5%</a:t>
                      </a:r>
                    </a:p>
                  </a:txBody>
                  <a:tcPr marL="9525" marR="9525" marT="9525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 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802934163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lzeňský kraj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511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38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449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7,7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0,6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5,2%</a:t>
                      </a:r>
                    </a:p>
                  </a:txBody>
                  <a:tcPr marL="9525" marR="9525" marT="9525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41161169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arlovarský kraj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87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0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87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,7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,9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,4%</a:t>
                      </a:r>
                    </a:p>
                  </a:txBody>
                  <a:tcPr marL="9525" marR="9525" marT="9525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 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 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514463784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Ústecký kraj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210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47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057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6,9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,7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9,6%</a:t>
                      </a:r>
                    </a:p>
                  </a:txBody>
                  <a:tcPr marL="9525" marR="9525" marT="9525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 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83071355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iberecký kraj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60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34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94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1,9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,4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,4%</a:t>
                      </a:r>
                    </a:p>
                  </a:txBody>
                  <a:tcPr marL="9525" marR="9525" marT="9525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 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523434301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rálovéhradecký kraj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81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238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119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,7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,9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,4%</a:t>
                      </a:r>
                    </a:p>
                  </a:txBody>
                  <a:tcPr marL="9525" marR="9525" marT="9525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 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17411395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ardubický kraj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454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407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861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,7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,8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,7%</a:t>
                      </a:r>
                    </a:p>
                  </a:txBody>
                  <a:tcPr marL="9525" marR="9525" marT="9525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 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546121728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raj Vysočina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49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62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911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,1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,9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,7%</a:t>
                      </a:r>
                    </a:p>
                  </a:txBody>
                  <a:tcPr marL="9525" marR="9525" marT="9525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138760682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Jihomoravský kraj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301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609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910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0,3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,8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9,7%</a:t>
                      </a:r>
                    </a:p>
                  </a:txBody>
                  <a:tcPr marL="9525" marR="9525" marT="9525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 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87129281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lomoucký kraj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483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306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789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,1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,8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,9%</a:t>
                      </a:r>
                    </a:p>
                  </a:txBody>
                  <a:tcPr marL="9525" marR="9525" marT="9525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985673518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Zlínský kraj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446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329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775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,0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,7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,7%</a:t>
                      </a:r>
                    </a:p>
                  </a:txBody>
                  <a:tcPr marL="9525" marR="9525" marT="9525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 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849180078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oravskoslezský kraj</a:t>
                      </a:r>
                    </a:p>
                  </a:txBody>
                  <a:tcPr marL="7620" marR="7620" marT="7620" marB="0" anchor="b">
                    <a:lnB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237 </a:t>
                      </a:r>
                    </a:p>
                  </a:txBody>
                  <a:tcPr marL="9525" marR="9525" marT="9525" marB="0" anchor="ctr">
                    <a:lnB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924 </a:t>
                      </a:r>
                    </a:p>
                  </a:txBody>
                  <a:tcPr marL="9525" marR="9525" marT="9525" marB="0" anchor="ctr">
                    <a:lnB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161 </a:t>
                      </a:r>
                    </a:p>
                  </a:txBody>
                  <a:tcPr marL="9525" marR="9525" marT="9525" marB="0" anchor="ctr">
                    <a:lnB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,8%</a:t>
                      </a:r>
                    </a:p>
                  </a:txBody>
                  <a:tcPr marL="9525" marR="9525" marT="9525" marB="0" anchor="ctr">
                    <a:lnB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,7%</a:t>
                      </a:r>
                    </a:p>
                  </a:txBody>
                  <a:tcPr marL="9525" marR="9525" marT="9525" marB="0" anchor="ctr">
                    <a:lnB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,1%</a:t>
                      </a:r>
                    </a:p>
                  </a:txBody>
                  <a:tcPr marL="9525" marR="9525" marT="9525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</a:t>
                      </a:r>
                    </a:p>
                  </a:txBody>
                  <a:tcPr marL="9525" marR="9525" marT="9525" marB="0" anchor="ctr">
                    <a:lnB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 </a:t>
                      </a:r>
                    </a:p>
                  </a:txBody>
                  <a:tcPr marL="9525" marR="9525" marT="9525" marB="0" anchor="ctr">
                    <a:lnB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6358068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ČR</a:t>
                      </a:r>
                    </a:p>
                  </a:txBody>
                  <a:tcPr marL="7620" marR="7620" marT="7620" marB="0" anchor="b">
                    <a:lnT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 692 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 864 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2 556 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6,7%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,3%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,6%</a:t>
                      </a:r>
                    </a:p>
                  </a:txBody>
                  <a:tcPr marL="9525" marR="9525" marT="9525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9 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7 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6 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343636442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6373"/>
            <a:ext cx="7625669" cy="576000"/>
          </a:xfrm>
        </p:spPr>
        <p:txBody>
          <a:bodyPr>
            <a:noAutofit/>
          </a:bodyPr>
          <a:lstStyle/>
          <a:p>
            <a:r>
              <a:rPr lang="cs-CZ" dirty="0"/>
              <a:t>Souhrn situace v sociálních zařízeních pobytových služeb </a:t>
            </a:r>
          </a:p>
        </p:txBody>
      </p:sp>
      <p:graphicFrame>
        <p:nvGraphicFramePr>
          <p:cNvPr id="3" name="Tabulka 5">
            <a:extLst>
              <a:ext uri="{FF2B5EF4-FFF2-40B4-BE49-F238E27FC236}">
                <a16:creationId xmlns:a16="http://schemas.microsoft.com/office/drawing/2014/main" id="{6F1BE403-568C-4410-92A9-A495D2FAEF4E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53799619"/>
              </p:ext>
            </p:extLst>
          </p:nvPr>
        </p:nvGraphicFramePr>
        <p:xfrm>
          <a:off x="396240" y="703131"/>
          <a:ext cx="4289898" cy="11074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29966">
                  <a:extLst>
                    <a:ext uri="{9D8B030D-6E8A-4147-A177-3AD203B41FA5}">
                      <a16:colId xmlns:a16="http://schemas.microsoft.com/office/drawing/2014/main" val="3746780257"/>
                    </a:ext>
                  </a:extLst>
                </a:gridCol>
                <a:gridCol w="1429966">
                  <a:extLst>
                    <a:ext uri="{9D8B030D-6E8A-4147-A177-3AD203B41FA5}">
                      <a16:colId xmlns:a16="http://schemas.microsoft.com/office/drawing/2014/main" val="3309322503"/>
                    </a:ext>
                  </a:extLst>
                </a:gridCol>
                <a:gridCol w="1429966">
                  <a:extLst>
                    <a:ext uri="{9D8B030D-6E8A-4147-A177-3AD203B41FA5}">
                      <a16:colId xmlns:a16="http://schemas.microsoft.com/office/drawing/2014/main" val="1197654578"/>
                    </a:ext>
                  </a:extLst>
                </a:gridCol>
              </a:tblGrid>
              <a:tr h="310173">
                <a:tc gridSpan="3">
                  <a:txBody>
                    <a:bodyPr/>
                    <a:lstStyle/>
                    <a:p>
                      <a:pPr algn="ctr"/>
                      <a:r>
                        <a:rPr lang="cs-CZ" dirty="0"/>
                        <a:t>Pozitivní kumulativně od 1. 9. 2020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193062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cs-CZ" sz="1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Klienti</a:t>
                      </a:r>
                    </a:p>
                  </a:txBody>
                  <a:tcPr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cs-CZ" sz="1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Pracovníci</a:t>
                      </a:r>
                    </a:p>
                  </a:txBody>
                  <a:tcPr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cs-CZ" sz="1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Celkem</a:t>
                      </a:r>
                    </a:p>
                  </a:txBody>
                  <a:tcPr>
                    <a:solidFill>
                      <a:srgbClr val="D3114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085893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 69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 86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2 556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301475020"/>
                  </a:ext>
                </a:extLst>
              </a:tr>
            </a:tbl>
          </a:graphicData>
        </a:graphic>
      </p:graphicFrame>
      <p:graphicFrame>
        <p:nvGraphicFramePr>
          <p:cNvPr id="9" name="Graf 8">
            <a:extLst>
              <a:ext uri="{FF2B5EF4-FFF2-40B4-BE49-F238E27FC236}">
                <a16:creationId xmlns:a16="http://schemas.microsoft.com/office/drawing/2014/main" id="{03F2B12B-C7FB-433C-B31C-39BA29874352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875546830"/>
              </p:ext>
            </p:extLst>
          </p:nvPr>
        </p:nvGraphicFramePr>
        <p:xfrm>
          <a:off x="6827777" y="940149"/>
          <a:ext cx="1943809" cy="21975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16" name="Graf 15">
            <a:extLst>
              <a:ext uri="{FF2B5EF4-FFF2-40B4-BE49-F238E27FC236}">
                <a16:creationId xmlns:a16="http://schemas.microsoft.com/office/drawing/2014/main" id="{4423F0C7-01F1-48B0-8558-9204B4FCEBBD}"/>
              </a:ext>
            </a:extLst>
          </p:cNvPr>
          <p:cNvGraphicFramePr/>
          <p:nvPr>
            <p:custDataLst>
              <p:tags r:id="rId4"/>
            </p:custDataLst>
          </p:nvPr>
        </p:nvGraphicFramePr>
        <p:xfrm>
          <a:off x="5005129" y="958233"/>
          <a:ext cx="1943809" cy="21975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17" name="Graf 16">
            <a:extLst>
              <a:ext uri="{FF2B5EF4-FFF2-40B4-BE49-F238E27FC236}">
                <a16:creationId xmlns:a16="http://schemas.microsoft.com/office/drawing/2014/main" id="{3CFFE266-D6AE-4802-A847-9E0F891F1121}"/>
              </a:ext>
            </a:extLst>
          </p:cNvPr>
          <p:cNvGraphicFramePr/>
          <p:nvPr>
            <p:custDataLst>
              <p:tags r:id="rId5"/>
            </p:custDataLst>
          </p:nvPr>
        </p:nvGraphicFramePr>
        <p:xfrm>
          <a:off x="8650425" y="937846"/>
          <a:ext cx="1943809" cy="21975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graphicFrame>
        <p:nvGraphicFramePr>
          <p:cNvPr id="24" name="Tabulka 5">
            <a:extLst>
              <a:ext uri="{FF2B5EF4-FFF2-40B4-BE49-F238E27FC236}">
                <a16:creationId xmlns:a16="http://schemas.microsoft.com/office/drawing/2014/main" id="{56437C1F-4D10-4D3E-B0A8-9518E5C68D69}"/>
              </a:ext>
            </a:extLst>
          </p:cNvPr>
          <p:cNvGraphicFramePr>
            <a:graphicFrameLocks noGrp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500447669"/>
              </p:ext>
            </p:extLst>
          </p:nvPr>
        </p:nvGraphicFramePr>
        <p:xfrm>
          <a:off x="396240" y="2014267"/>
          <a:ext cx="4289898" cy="1112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23035">
                  <a:extLst>
                    <a:ext uri="{9D8B030D-6E8A-4147-A177-3AD203B41FA5}">
                      <a16:colId xmlns:a16="http://schemas.microsoft.com/office/drawing/2014/main" val="3746780257"/>
                    </a:ext>
                  </a:extLst>
                </a:gridCol>
                <a:gridCol w="1436896">
                  <a:extLst>
                    <a:ext uri="{9D8B030D-6E8A-4147-A177-3AD203B41FA5}">
                      <a16:colId xmlns:a16="http://schemas.microsoft.com/office/drawing/2014/main" val="3309322503"/>
                    </a:ext>
                  </a:extLst>
                </a:gridCol>
                <a:gridCol w="1429967">
                  <a:extLst>
                    <a:ext uri="{9D8B030D-6E8A-4147-A177-3AD203B41FA5}">
                      <a16:colId xmlns:a16="http://schemas.microsoft.com/office/drawing/2014/main" val="1197654578"/>
                    </a:ext>
                  </a:extLst>
                </a:gridCol>
              </a:tblGrid>
              <a:tr h="370840">
                <a:tc gridSpan="3">
                  <a:txBody>
                    <a:bodyPr/>
                    <a:lstStyle/>
                    <a:p>
                      <a:pPr algn="ctr"/>
                      <a:r>
                        <a:rPr lang="cs-CZ" dirty="0"/>
                        <a:t>Prevalence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193062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cs-CZ" sz="1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Klienti</a:t>
                      </a:r>
                    </a:p>
                  </a:txBody>
                  <a:tcPr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cs-CZ" sz="1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Pracovníci</a:t>
                      </a:r>
                    </a:p>
                  </a:txBody>
                  <a:tcPr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cs-CZ" sz="1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Celkem</a:t>
                      </a:r>
                    </a:p>
                  </a:txBody>
                  <a:tcPr>
                    <a:solidFill>
                      <a:srgbClr val="D3114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085893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6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301475020"/>
                  </a:ext>
                </a:extLst>
              </a:tr>
            </a:tbl>
          </a:graphicData>
        </a:graphic>
      </p:graphicFrame>
      <p:sp>
        <p:nvSpPr>
          <p:cNvPr id="31" name="Obdélník 30">
            <a:extLst>
              <a:ext uri="{FF2B5EF4-FFF2-40B4-BE49-F238E27FC236}">
                <a16:creationId xmlns:a16="http://schemas.microsoft.com/office/drawing/2014/main" id="{BD5140DF-3074-4F6E-8ED2-520771412FF8}"/>
              </a:ext>
            </a:extLst>
          </p:cNvPr>
          <p:cNvSpPr/>
          <p:nvPr/>
        </p:nvSpPr>
        <p:spPr>
          <a:xfrm>
            <a:off x="10603771" y="1639953"/>
            <a:ext cx="232229" cy="22235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2" name="Obdélník 31">
            <a:extLst>
              <a:ext uri="{FF2B5EF4-FFF2-40B4-BE49-F238E27FC236}">
                <a16:creationId xmlns:a16="http://schemas.microsoft.com/office/drawing/2014/main" id="{4021D8A8-D008-4697-AC1C-88E72BFFF03A}"/>
              </a:ext>
            </a:extLst>
          </p:cNvPr>
          <p:cNvSpPr/>
          <p:nvPr/>
        </p:nvSpPr>
        <p:spPr>
          <a:xfrm>
            <a:off x="10603770" y="2157456"/>
            <a:ext cx="232229" cy="222358"/>
          </a:xfrm>
          <a:prstGeom prst="rect">
            <a:avLst/>
          </a:prstGeom>
          <a:solidFill>
            <a:srgbClr val="30598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3" name="TextovéPole 32">
            <a:extLst>
              <a:ext uri="{FF2B5EF4-FFF2-40B4-BE49-F238E27FC236}">
                <a16:creationId xmlns:a16="http://schemas.microsoft.com/office/drawing/2014/main" id="{413E6CF2-B54B-44CC-B0E1-F5F79475BD0F}"/>
              </a:ext>
            </a:extLst>
          </p:cNvPr>
          <p:cNvSpPr txBox="1"/>
          <p:nvPr/>
        </p:nvSpPr>
        <p:spPr>
          <a:xfrm>
            <a:off x="10825623" y="1598768"/>
            <a:ext cx="970137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statní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zitivní</a:t>
            </a:r>
          </a:p>
        </p:txBody>
      </p:sp>
      <p:sp>
        <p:nvSpPr>
          <p:cNvPr id="19" name="TextovéPole 18">
            <a:extLst>
              <a:ext uri="{FF2B5EF4-FFF2-40B4-BE49-F238E27FC236}">
                <a16:creationId xmlns:a16="http://schemas.microsoft.com/office/drawing/2014/main" id="{32F49224-0D50-4D73-8F2F-C6E32D1DD997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3095626" y="6599244"/>
            <a:ext cx="63722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ISIN a ISIN – modul sociálních služeb, 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v k 15. 1. 2022</a:t>
            </a:r>
          </a:p>
        </p:txBody>
      </p:sp>
    </p:spTree>
    <p:extLst>
      <p:ext uri="{BB962C8B-B14F-4D97-AF65-F5344CB8AC3E}">
        <p14:creationId xmlns:p14="http://schemas.microsoft.com/office/powerpoint/2010/main" val="142540272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0" y="16373"/>
            <a:ext cx="7625669" cy="576000"/>
          </a:xfrm>
        </p:spPr>
        <p:txBody>
          <a:bodyPr>
            <a:noAutofit/>
          </a:bodyPr>
          <a:lstStyle/>
          <a:p>
            <a:r>
              <a:rPr lang="cs-CZ" dirty="0"/>
              <a:t>Souhrn situace v sociálních zařízeních pobytových služeb </a:t>
            </a:r>
          </a:p>
        </p:txBody>
      </p:sp>
      <p:sp>
        <p:nvSpPr>
          <p:cNvPr id="34" name="TextovéPole 33">
            <a:extLst>
              <a:ext uri="{FF2B5EF4-FFF2-40B4-BE49-F238E27FC236}">
                <a16:creationId xmlns:a16="http://schemas.microsoft.com/office/drawing/2014/main" id="{A4FC8911-8549-4A16-8D1B-80DFEF2A7C37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1062389" y="1134877"/>
            <a:ext cx="936475" cy="132343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statní </a:t>
            </a:r>
            <a:b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zitivní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emřelí</a:t>
            </a:r>
          </a:p>
        </p:txBody>
      </p:sp>
      <p:sp>
        <p:nvSpPr>
          <p:cNvPr id="25" name="Obdélník 30">
            <a:extLst>
              <a:ext uri="{FF2B5EF4-FFF2-40B4-BE49-F238E27FC236}">
                <a16:creationId xmlns:a16="http://schemas.microsoft.com/office/drawing/2014/main" id="{DB9838B0-0A33-4A4B-986E-9D9F71AF81E2}"/>
              </a:ext>
            </a:extLst>
          </p:cNvPr>
          <p:cNvSpPr/>
          <p:nvPr/>
        </p:nvSpPr>
        <p:spPr>
          <a:xfrm>
            <a:off x="10825441" y="1345021"/>
            <a:ext cx="232229" cy="222358"/>
          </a:xfrm>
          <a:prstGeom prst="rect">
            <a:avLst/>
          </a:prstGeom>
          <a:solidFill>
            <a:srgbClr val="D31145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6" name="Obdélník 31">
            <a:extLst>
              <a:ext uri="{FF2B5EF4-FFF2-40B4-BE49-F238E27FC236}">
                <a16:creationId xmlns:a16="http://schemas.microsoft.com/office/drawing/2014/main" id="{DEA0E672-4606-4BB6-81AF-B5D1874019D7}"/>
              </a:ext>
            </a:extLst>
          </p:cNvPr>
          <p:cNvSpPr/>
          <p:nvPr/>
        </p:nvSpPr>
        <p:spPr>
          <a:xfrm>
            <a:off x="10825442" y="2161275"/>
            <a:ext cx="232229" cy="222358"/>
          </a:xfrm>
          <a:prstGeom prst="rect">
            <a:avLst/>
          </a:prstGeom>
          <a:solidFill>
            <a:schemeClr val="accent5">
              <a:lumMod val="2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30" name="Tabulka 5">
            <a:extLst>
              <a:ext uri="{FF2B5EF4-FFF2-40B4-BE49-F238E27FC236}">
                <a16:creationId xmlns:a16="http://schemas.microsoft.com/office/drawing/2014/main" id="{6EB11C65-1CDD-4550-89B7-A08D02ED3134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531808622"/>
              </p:ext>
            </p:extLst>
          </p:nvPr>
        </p:nvGraphicFramePr>
        <p:xfrm>
          <a:off x="396240" y="1294785"/>
          <a:ext cx="4289898" cy="11074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29966">
                  <a:extLst>
                    <a:ext uri="{9D8B030D-6E8A-4147-A177-3AD203B41FA5}">
                      <a16:colId xmlns:a16="http://schemas.microsoft.com/office/drawing/2014/main" val="3746780257"/>
                    </a:ext>
                  </a:extLst>
                </a:gridCol>
                <a:gridCol w="1429966">
                  <a:extLst>
                    <a:ext uri="{9D8B030D-6E8A-4147-A177-3AD203B41FA5}">
                      <a16:colId xmlns:a16="http://schemas.microsoft.com/office/drawing/2014/main" val="3309322503"/>
                    </a:ext>
                  </a:extLst>
                </a:gridCol>
                <a:gridCol w="1429966">
                  <a:extLst>
                    <a:ext uri="{9D8B030D-6E8A-4147-A177-3AD203B41FA5}">
                      <a16:colId xmlns:a16="http://schemas.microsoft.com/office/drawing/2014/main" val="1197654578"/>
                    </a:ext>
                  </a:extLst>
                </a:gridCol>
              </a:tblGrid>
              <a:tr h="310173">
                <a:tc gridSpan="3">
                  <a:txBody>
                    <a:bodyPr/>
                    <a:lstStyle/>
                    <a:p>
                      <a:pPr algn="ctr"/>
                      <a:r>
                        <a:rPr lang="cs-CZ" dirty="0"/>
                        <a:t>Úmrtí z pozitivních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193062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cs-CZ" sz="1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Klienti</a:t>
                      </a:r>
                    </a:p>
                  </a:txBody>
                  <a:tcPr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cs-CZ" sz="1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Pracovníci</a:t>
                      </a:r>
                    </a:p>
                  </a:txBody>
                  <a:tcPr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cs-CZ" sz="1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Celkem</a:t>
                      </a:r>
                    </a:p>
                  </a:txBody>
                  <a:tcPr>
                    <a:solidFill>
                      <a:srgbClr val="D3114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085893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46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488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301475020"/>
                  </a:ext>
                </a:extLst>
              </a:tr>
            </a:tbl>
          </a:graphicData>
        </a:graphic>
      </p:graphicFrame>
      <p:graphicFrame>
        <p:nvGraphicFramePr>
          <p:cNvPr id="35" name="Graf 34">
            <a:extLst>
              <a:ext uri="{FF2B5EF4-FFF2-40B4-BE49-F238E27FC236}">
                <a16:creationId xmlns:a16="http://schemas.microsoft.com/office/drawing/2014/main" id="{9825F808-DBDA-4681-8826-95CA8D4BD0F6}"/>
              </a:ext>
            </a:extLst>
          </p:cNvPr>
          <p:cNvGraphicFramePr/>
          <p:nvPr>
            <p:custDataLst>
              <p:tags r:id="rId4"/>
            </p:custDataLst>
          </p:nvPr>
        </p:nvGraphicFramePr>
        <p:xfrm>
          <a:off x="6827777" y="844899"/>
          <a:ext cx="1943809" cy="21975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36" name="Graf 35">
            <a:extLst>
              <a:ext uri="{FF2B5EF4-FFF2-40B4-BE49-F238E27FC236}">
                <a16:creationId xmlns:a16="http://schemas.microsoft.com/office/drawing/2014/main" id="{57DC76AD-7CE7-40BD-9E22-DF3C22F51241}"/>
              </a:ext>
            </a:extLst>
          </p:cNvPr>
          <p:cNvGraphicFramePr/>
          <p:nvPr>
            <p:custDataLst>
              <p:tags r:id="rId5"/>
            </p:custDataLst>
          </p:nvPr>
        </p:nvGraphicFramePr>
        <p:xfrm>
          <a:off x="5005129" y="862983"/>
          <a:ext cx="1943809" cy="21975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graphicFrame>
        <p:nvGraphicFramePr>
          <p:cNvPr id="37" name="Graf 36">
            <a:extLst>
              <a:ext uri="{FF2B5EF4-FFF2-40B4-BE49-F238E27FC236}">
                <a16:creationId xmlns:a16="http://schemas.microsoft.com/office/drawing/2014/main" id="{8BB4745F-03D5-4071-8407-C7CEC07B41AF}"/>
              </a:ext>
            </a:extLst>
          </p:cNvPr>
          <p:cNvGraphicFramePr/>
          <p:nvPr>
            <p:custDataLst>
              <p:tags r:id="rId6"/>
            </p:custDataLst>
          </p:nvPr>
        </p:nvGraphicFramePr>
        <p:xfrm>
          <a:off x="8650425" y="842596"/>
          <a:ext cx="1943809" cy="21975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aphicFrame>
        <p:nvGraphicFramePr>
          <p:cNvPr id="4" name="Tabulka 4">
            <a:extLst>
              <a:ext uri="{FF2B5EF4-FFF2-40B4-BE49-F238E27FC236}">
                <a16:creationId xmlns:a16="http://schemas.microsoft.com/office/drawing/2014/main" id="{D16BFC76-C19B-4A8D-8DDB-FDA0B234E699}"/>
              </a:ext>
            </a:extLst>
          </p:cNvPr>
          <p:cNvGraphicFramePr>
            <a:graphicFrameLocks noGrp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3769392034"/>
              </p:ext>
            </p:extLst>
          </p:nvPr>
        </p:nvGraphicFramePr>
        <p:xfrm>
          <a:off x="1540765" y="2971287"/>
          <a:ext cx="10115198" cy="325550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42143">
                  <a:extLst>
                    <a:ext uri="{9D8B030D-6E8A-4147-A177-3AD203B41FA5}">
                      <a16:colId xmlns:a16="http://schemas.microsoft.com/office/drawing/2014/main" val="879520779"/>
                    </a:ext>
                  </a:extLst>
                </a:gridCol>
                <a:gridCol w="1279542">
                  <a:extLst>
                    <a:ext uri="{9D8B030D-6E8A-4147-A177-3AD203B41FA5}">
                      <a16:colId xmlns:a16="http://schemas.microsoft.com/office/drawing/2014/main" val="3367828616"/>
                    </a:ext>
                  </a:extLst>
                </a:gridCol>
                <a:gridCol w="1641475">
                  <a:extLst>
                    <a:ext uri="{9D8B030D-6E8A-4147-A177-3AD203B41FA5}">
                      <a16:colId xmlns:a16="http://schemas.microsoft.com/office/drawing/2014/main" val="1646545094"/>
                    </a:ext>
                  </a:extLst>
                </a:gridCol>
                <a:gridCol w="1641475">
                  <a:extLst>
                    <a:ext uri="{9D8B030D-6E8A-4147-A177-3AD203B41FA5}">
                      <a16:colId xmlns:a16="http://schemas.microsoft.com/office/drawing/2014/main" val="2611571609"/>
                    </a:ext>
                  </a:extLst>
                </a:gridCol>
                <a:gridCol w="1641475">
                  <a:extLst>
                    <a:ext uri="{9D8B030D-6E8A-4147-A177-3AD203B41FA5}">
                      <a16:colId xmlns:a16="http://schemas.microsoft.com/office/drawing/2014/main" val="934922861"/>
                    </a:ext>
                  </a:extLst>
                </a:gridCol>
                <a:gridCol w="2369088">
                  <a:extLst>
                    <a:ext uri="{9D8B030D-6E8A-4147-A177-3AD203B41FA5}">
                      <a16:colId xmlns:a16="http://schemas.microsoft.com/office/drawing/2014/main" val="49330528"/>
                    </a:ext>
                  </a:extLst>
                </a:gridCol>
              </a:tblGrid>
              <a:tr h="268887">
                <a:tc rowSpan="2">
                  <a:txBody>
                    <a:bodyPr/>
                    <a:lstStyle/>
                    <a:p>
                      <a:pPr algn="ctr"/>
                      <a:endParaRPr lang="cs-CZ" sz="1200" dirty="0"/>
                    </a:p>
                  </a:txBody>
                  <a:tcPr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D31145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cs-CZ" sz="1200" dirty="0"/>
                        <a:t>Pozitivní celkem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D31145"/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cs-CZ" sz="1200" dirty="0"/>
                        <a:t>Úmrtí s COVID-19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47094322"/>
                  </a:ext>
                </a:extLst>
              </a:tr>
              <a:tr h="337976">
                <a:tc vMerge="1">
                  <a:txBody>
                    <a:bodyPr/>
                    <a:lstStyle/>
                    <a:p>
                      <a:pPr algn="l" fontAlgn="b"/>
                      <a:endParaRPr lang="cs-CZ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06" marR="6906" marT="6906" marB="0" anchor="b">
                    <a:solidFill>
                      <a:srgbClr val="D31145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V pobytových službách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% </a:t>
                      </a:r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úmrtí z nakažených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Celkový počet úmrtí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% </a:t>
                      </a:r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úmrtí v pobytových službách z celkového počtu úmrtí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6901625"/>
                  </a:ext>
                </a:extLst>
              </a:tr>
              <a:tr h="92896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lavní město Praha</a:t>
                      </a:r>
                    </a:p>
                  </a:txBody>
                  <a:tcPr marL="7620" marR="7620" marT="7620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537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6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,3%</a:t>
                      </a:r>
                    </a:p>
                  </a:txBody>
                  <a:tcPr marL="9525" marR="9525" marT="9525" marB="0" anchor="ctr"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275 </a:t>
                      </a:r>
                    </a:p>
                  </a:txBody>
                  <a:tcPr marL="9525" marR="9525" marT="9525" marB="0" anchor="ctr"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,2%</a:t>
                      </a:r>
                    </a:p>
                  </a:txBody>
                  <a:tcPr marL="9525" marR="9525" marT="9525" marB="0" anchor="ctr"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3479671657"/>
                  </a:ext>
                </a:extLst>
              </a:tr>
              <a:tr h="17674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tředočeský kraj</a:t>
                      </a:r>
                    </a:p>
                  </a:txBody>
                  <a:tcPr marL="7620" marR="7620" marT="7620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091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47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,0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962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,8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642155320"/>
                  </a:ext>
                </a:extLst>
              </a:tr>
              <a:tr h="17674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Jihočeský kraj</a:t>
                      </a:r>
                    </a:p>
                  </a:txBody>
                  <a:tcPr marL="7620" marR="7620" marT="7620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815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0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,6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453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,8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015003571"/>
                  </a:ext>
                </a:extLst>
              </a:tr>
              <a:tr h="17674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lzeňský kraj</a:t>
                      </a:r>
                    </a:p>
                  </a:txBody>
                  <a:tcPr marL="7620" marR="7620" marT="7620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449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4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,7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225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,6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89799253"/>
                  </a:ext>
                </a:extLst>
              </a:tr>
              <a:tr h="17674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arlovarský kraj</a:t>
                      </a:r>
                    </a:p>
                  </a:txBody>
                  <a:tcPr marL="7620" marR="7620" marT="7620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87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3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,7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570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,2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462793051"/>
                  </a:ext>
                </a:extLst>
              </a:tr>
              <a:tr h="17674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Ústecký kraj</a:t>
                      </a:r>
                    </a:p>
                  </a:txBody>
                  <a:tcPr marL="7620" marR="7620" marT="7620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057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5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,0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103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,5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100391501"/>
                  </a:ext>
                </a:extLst>
              </a:tr>
              <a:tr h="17674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iberecký kraj</a:t>
                      </a:r>
                    </a:p>
                  </a:txBody>
                  <a:tcPr marL="7620" marR="7620" marT="7620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94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5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,3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447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,2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360014896"/>
                  </a:ext>
                </a:extLst>
              </a:tr>
              <a:tr h="17674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rálovéhradecký kraj</a:t>
                      </a:r>
                    </a:p>
                  </a:txBody>
                  <a:tcPr marL="7620" marR="7620" marT="7620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119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1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,7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029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,9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562152596"/>
                  </a:ext>
                </a:extLst>
              </a:tr>
              <a:tr h="17674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ardubický kraj</a:t>
                      </a:r>
                    </a:p>
                  </a:txBody>
                  <a:tcPr marL="7620" marR="7620" marT="7620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861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0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,0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751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,4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24638357"/>
                  </a:ext>
                </a:extLst>
              </a:tr>
              <a:tr h="17674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raj Vysočina</a:t>
                      </a:r>
                    </a:p>
                  </a:txBody>
                  <a:tcPr marL="7620" marR="7620" marT="7620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911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9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,3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627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,8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196771243"/>
                  </a:ext>
                </a:extLst>
              </a:tr>
              <a:tr h="17674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Jihomoravský kraj</a:t>
                      </a:r>
                    </a:p>
                  </a:txBody>
                  <a:tcPr marL="7620" marR="7620" marT="7620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910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7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,6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387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,8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291360765"/>
                  </a:ext>
                </a:extLst>
              </a:tr>
              <a:tr h="17674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lomoucký kraj</a:t>
                      </a:r>
                    </a:p>
                  </a:txBody>
                  <a:tcPr marL="7620" marR="7620" marT="7620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789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0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,2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221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,0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84971066"/>
                  </a:ext>
                </a:extLst>
              </a:tr>
              <a:tr h="17674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Zlínský kraj</a:t>
                      </a:r>
                    </a:p>
                  </a:txBody>
                  <a:tcPr marL="7620" marR="7620" marT="7620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775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7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,2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096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,8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968908529"/>
                  </a:ext>
                </a:extLst>
              </a:tr>
              <a:tr h="17674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oravskoslezský kraj</a:t>
                      </a:r>
                    </a:p>
                  </a:txBody>
                  <a:tcPr marL="7620" marR="7620" marT="7620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161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64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,7%</a:t>
                      </a:r>
                    </a:p>
                  </a:txBody>
                  <a:tcPr marL="9525" marR="9525" marT="9525" marB="0" anchor="ctr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681 </a:t>
                      </a:r>
                    </a:p>
                  </a:txBody>
                  <a:tcPr marL="9525" marR="9525" marT="9525" marB="0" anchor="ctr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,8%</a:t>
                      </a:r>
                    </a:p>
                  </a:txBody>
                  <a:tcPr marL="9525" marR="9525" marT="9525" marB="0" anchor="ctr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37902375"/>
                  </a:ext>
                </a:extLst>
              </a:tr>
              <a:tr h="17674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ČR</a:t>
                      </a:r>
                    </a:p>
                  </a:txBody>
                  <a:tcPr marL="7620" marR="7620" marT="7620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2 556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488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,2%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6 827 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,5%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654811687"/>
                  </a:ext>
                </a:extLst>
              </a:tr>
            </a:tbl>
          </a:graphicData>
        </a:graphic>
      </p:graphicFrame>
      <p:sp>
        <p:nvSpPr>
          <p:cNvPr id="14" name="TextovéPole 13">
            <a:extLst>
              <a:ext uri="{FF2B5EF4-FFF2-40B4-BE49-F238E27FC236}">
                <a16:creationId xmlns:a16="http://schemas.microsoft.com/office/drawing/2014/main" id="{84C2B06D-1EA4-4221-AB94-49921297612F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3095626" y="6583202"/>
            <a:ext cx="63722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ISIN a ISIN – modul sociálních služeb, 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v k 15. 1. 2022</a:t>
            </a:r>
          </a:p>
        </p:txBody>
      </p:sp>
    </p:spTree>
    <p:extLst>
      <p:ext uri="{BB962C8B-B14F-4D97-AF65-F5344CB8AC3E}">
        <p14:creationId xmlns:p14="http://schemas.microsoft.com/office/powerpoint/2010/main" val="225788326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6373"/>
            <a:ext cx="7625669" cy="576000"/>
          </a:xfrm>
        </p:spPr>
        <p:txBody>
          <a:bodyPr>
            <a:noAutofit/>
          </a:bodyPr>
          <a:lstStyle/>
          <a:p>
            <a:r>
              <a:rPr lang="cs-CZ" dirty="0"/>
              <a:t>Souhrn situace v sociálních zařízeních pobytových služeb </a:t>
            </a:r>
          </a:p>
        </p:txBody>
      </p:sp>
      <p:graphicFrame>
        <p:nvGraphicFramePr>
          <p:cNvPr id="7" name="Graf 6">
            <a:extLst>
              <a:ext uri="{FF2B5EF4-FFF2-40B4-BE49-F238E27FC236}">
                <a16:creationId xmlns:a16="http://schemas.microsoft.com/office/drawing/2014/main" id="{6EE5A5A9-1D77-4373-8BAE-354735C4B927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3371886"/>
              </p:ext>
            </p:extLst>
          </p:nvPr>
        </p:nvGraphicFramePr>
        <p:xfrm>
          <a:off x="317499" y="1113735"/>
          <a:ext cx="5445129" cy="541515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1" name="Graf 10">
            <a:extLst>
              <a:ext uri="{FF2B5EF4-FFF2-40B4-BE49-F238E27FC236}">
                <a16:creationId xmlns:a16="http://schemas.microsoft.com/office/drawing/2014/main" id="{24F8B5FE-5BCC-438A-9460-39F409715533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64066357"/>
              </p:ext>
            </p:extLst>
          </p:nvPr>
        </p:nvGraphicFramePr>
        <p:xfrm>
          <a:off x="6096000" y="1113736"/>
          <a:ext cx="5543552" cy="541515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TextovéPole 7">
            <a:extLst>
              <a:ext uri="{FF2B5EF4-FFF2-40B4-BE49-F238E27FC236}">
                <a16:creationId xmlns:a16="http://schemas.microsoft.com/office/drawing/2014/main" id="{34BC6512-09A9-45C7-9C64-6483F36FCDF4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3095626" y="6583202"/>
            <a:ext cx="63722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ISIN a ISIN – modul sociálních služeb, 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v k 15. 1. 2022</a:t>
            </a:r>
          </a:p>
        </p:txBody>
      </p:sp>
    </p:spTree>
    <p:extLst>
      <p:ext uri="{BB962C8B-B14F-4D97-AF65-F5344CB8AC3E}">
        <p14:creationId xmlns:p14="http://schemas.microsoft.com/office/powerpoint/2010/main" val="187246632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Graf 8">
            <a:extLst>
              <a:ext uri="{FF2B5EF4-FFF2-40B4-BE49-F238E27FC236}">
                <a16:creationId xmlns:a16="http://schemas.microsoft.com/office/drawing/2014/main" id="{A5AC5B58-68B4-4B88-BC43-BA177AD2572A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43279088"/>
              </p:ext>
            </p:extLst>
          </p:nvPr>
        </p:nvGraphicFramePr>
        <p:xfrm>
          <a:off x="6096000" y="1130962"/>
          <a:ext cx="5601341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6373"/>
            <a:ext cx="7625669" cy="576000"/>
          </a:xfrm>
        </p:spPr>
        <p:txBody>
          <a:bodyPr>
            <a:noAutofit/>
          </a:bodyPr>
          <a:lstStyle/>
          <a:p>
            <a:r>
              <a:rPr lang="cs-CZ" dirty="0"/>
              <a:t>Souhrn situace v sociálních zařízeních pobytových služeb </a:t>
            </a:r>
          </a:p>
        </p:txBody>
      </p:sp>
      <p:graphicFrame>
        <p:nvGraphicFramePr>
          <p:cNvPr id="5" name="Graf 4">
            <a:extLst>
              <a:ext uri="{FF2B5EF4-FFF2-40B4-BE49-F238E27FC236}">
                <a16:creationId xmlns:a16="http://schemas.microsoft.com/office/drawing/2014/main" id="{2CC91C51-DB83-45AB-9039-0844F5E7892A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90897371"/>
              </p:ext>
            </p:extLst>
          </p:nvPr>
        </p:nvGraphicFramePr>
        <p:xfrm>
          <a:off x="494659" y="1130963"/>
          <a:ext cx="5601341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7" name="TextovéPole 6">
            <a:extLst>
              <a:ext uri="{FF2B5EF4-FFF2-40B4-BE49-F238E27FC236}">
                <a16:creationId xmlns:a16="http://schemas.microsoft.com/office/drawing/2014/main" id="{6D4CE99E-2646-4004-897D-BD3135C0FC18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3083595" y="6581001"/>
            <a:ext cx="63722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ISIN a ISIN – modul sociálních služeb, 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v k 15. 1. 2022</a:t>
            </a:r>
          </a:p>
        </p:txBody>
      </p:sp>
    </p:spTree>
    <p:extLst>
      <p:ext uri="{BB962C8B-B14F-4D97-AF65-F5344CB8AC3E}">
        <p14:creationId xmlns:p14="http://schemas.microsoft.com/office/powerpoint/2010/main" val="23270111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F3DA7FDE-62BA-4179-BA4D-AB192F2667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2"/>
            <a:ext cx="7326652" cy="576000"/>
          </a:xfrm>
        </p:spPr>
        <p:txBody>
          <a:bodyPr/>
          <a:lstStyle/>
          <a:p>
            <a:r>
              <a:rPr lang="en-US" dirty="0"/>
              <a:t>Po</a:t>
            </a:r>
            <a:r>
              <a:rPr lang="cs-CZ" dirty="0"/>
              <a:t>čet nově pozitivních klientů v sociálních službách</a:t>
            </a:r>
          </a:p>
        </p:txBody>
      </p:sp>
      <p:graphicFrame>
        <p:nvGraphicFramePr>
          <p:cNvPr id="32" name="Chart 31">
            <a:extLst>
              <a:ext uri="{FF2B5EF4-FFF2-40B4-BE49-F238E27FC236}">
                <a16:creationId xmlns:a16="http://schemas.microsoft.com/office/drawing/2014/main" id="{60173AA5-760E-4890-90E2-16710D92A897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95846606"/>
              </p:ext>
            </p:extLst>
          </p:nvPr>
        </p:nvGraphicFramePr>
        <p:xfrm>
          <a:off x="352338" y="934057"/>
          <a:ext cx="11232858" cy="561223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CBDB047-9B6A-4800-8865-B2F14B9CE230}"/>
              </a:ext>
            </a:extLst>
          </p:cNvPr>
          <p:cNvSpPr txBox="1"/>
          <p:nvPr/>
        </p:nvSpPr>
        <p:spPr>
          <a:xfrm rot="16200000">
            <a:off x="-1182697" y="3135089"/>
            <a:ext cx="307007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enní počet nových případů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98FB1B2-5954-4917-86E8-05CAC9208F90}"/>
              </a:ext>
            </a:extLst>
          </p:cNvPr>
          <p:cNvSpPr txBox="1"/>
          <p:nvPr/>
        </p:nvSpPr>
        <p:spPr>
          <a:xfrm>
            <a:off x="0" y="597841"/>
            <a:ext cx="344677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 dat: ISIN a ISIN – modul sociálních služeb</a:t>
            </a:r>
          </a:p>
        </p:txBody>
      </p:sp>
      <p:cxnSp>
        <p:nvCxnSpPr>
          <p:cNvPr id="8" name="Straight Connector 4">
            <a:extLst>
              <a:ext uri="{FF2B5EF4-FFF2-40B4-BE49-F238E27FC236}">
                <a16:creationId xmlns:a16="http://schemas.microsoft.com/office/drawing/2014/main" id="{30006DBE-A660-415B-AEC3-B17DAF8F0BB4}"/>
              </a:ext>
            </a:extLst>
          </p:cNvPr>
          <p:cNvCxnSpPr/>
          <p:nvPr/>
        </p:nvCxnSpPr>
        <p:spPr>
          <a:xfrm>
            <a:off x="8554802" y="1295549"/>
            <a:ext cx="360000" cy="0"/>
          </a:xfrm>
          <a:prstGeom prst="line">
            <a:avLst/>
          </a:prstGeom>
          <a:ln w="19050">
            <a:solidFill>
              <a:srgbClr val="00206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5">
            <a:extLst>
              <a:ext uri="{FF2B5EF4-FFF2-40B4-BE49-F238E27FC236}">
                <a16:creationId xmlns:a16="http://schemas.microsoft.com/office/drawing/2014/main" id="{FE1C6E9E-768E-466F-BF16-2898D9FD2D57}"/>
              </a:ext>
            </a:extLst>
          </p:cNvPr>
          <p:cNvSpPr txBox="1"/>
          <p:nvPr/>
        </p:nvSpPr>
        <p:spPr>
          <a:xfrm>
            <a:off x="8917060" y="1126275"/>
            <a:ext cx="228299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7 denní klouzavý průměr</a:t>
            </a:r>
          </a:p>
        </p:txBody>
      </p:sp>
    </p:spTree>
    <p:extLst>
      <p:ext uri="{BB962C8B-B14F-4D97-AF65-F5344CB8AC3E}">
        <p14:creationId xmlns:p14="http://schemas.microsoft.com/office/powerpoint/2010/main" val="280233683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F3DA7FDE-62BA-4179-BA4D-AB192F2667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2"/>
            <a:ext cx="7326652" cy="576000"/>
          </a:xfrm>
        </p:spPr>
        <p:txBody>
          <a:bodyPr/>
          <a:lstStyle/>
          <a:p>
            <a:r>
              <a:rPr lang="en-US" dirty="0"/>
              <a:t>Po</a:t>
            </a:r>
            <a:r>
              <a:rPr lang="cs-CZ" dirty="0"/>
              <a:t>čet nově pozitivních pracovníků v sociálních službách</a:t>
            </a:r>
          </a:p>
        </p:txBody>
      </p:sp>
      <p:graphicFrame>
        <p:nvGraphicFramePr>
          <p:cNvPr id="32" name="Chart 31">
            <a:extLst>
              <a:ext uri="{FF2B5EF4-FFF2-40B4-BE49-F238E27FC236}">
                <a16:creationId xmlns:a16="http://schemas.microsoft.com/office/drawing/2014/main" id="{60173AA5-760E-4890-90E2-16710D92A897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49034743"/>
              </p:ext>
            </p:extLst>
          </p:nvPr>
        </p:nvGraphicFramePr>
        <p:xfrm>
          <a:off x="352338" y="934057"/>
          <a:ext cx="11232858" cy="561223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CBDB047-9B6A-4800-8865-B2F14B9CE230}"/>
              </a:ext>
            </a:extLst>
          </p:cNvPr>
          <p:cNvSpPr txBox="1"/>
          <p:nvPr/>
        </p:nvSpPr>
        <p:spPr>
          <a:xfrm rot="16200000">
            <a:off x="-1182697" y="3135089"/>
            <a:ext cx="307007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enní počet nových případů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98FB1B2-5954-4917-86E8-05CAC9208F90}"/>
              </a:ext>
            </a:extLst>
          </p:cNvPr>
          <p:cNvSpPr txBox="1"/>
          <p:nvPr/>
        </p:nvSpPr>
        <p:spPr>
          <a:xfrm>
            <a:off x="0" y="597841"/>
            <a:ext cx="344677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 dat: ISIN a ISIN – modul sociálních služeb</a:t>
            </a:r>
          </a:p>
        </p:txBody>
      </p:sp>
      <p:cxnSp>
        <p:nvCxnSpPr>
          <p:cNvPr id="10" name="Straight Connector 4">
            <a:extLst>
              <a:ext uri="{FF2B5EF4-FFF2-40B4-BE49-F238E27FC236}">
                <a16:creationId xmlns:a16="http://schemas.microsoft.com/office/drawing/2014/main" id="{9D7E5688-CECF-4F5B-A73A-AB5B8E86B898}"/>
              </a:ext>
            </a:extLst>
          </p:cNvPr>
          <p:cNvCxnSpPr/>
          <p:nvPr/>
        </p:nvCxnSpPr>
        <p:spPr>
          <a:xfrm>
            <a:off x="8554802" y="1295549"/>
            <a:ext cx="360000" cy="0"/>
          </a:xfrm>
          <a:prstGeom prst="line">
            <a:avLst/>
          </a:prstGeom>
          <a:ln w="19050">
            <a:solidFill>
              <a:srgbClr val="00206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5">
            <a:extLst>
              <a:ext uri="{FF2B5EF4-FFF2-40B4-BE49-F238E27FC236}">
                <a16:creationId xmlns:a16="http://schemas.microsoft.com/office/drawing/2014/main" id="{86979FC1-366B-46FD-B231-EEADA63DBE0B}"/>
              </a:ext>
            </a:extLst>
          </p:cNvPr>
          <p:cNvSpPr txBox="1"/>
          <p:nvPr/>
        </p:nvSpPr>
        <p:spPr>
          <a:xfrm>
            <a:off x="8917060" y="1126275"/>
            <a:ext cx="228299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7 denní klouzavý průměr</a:t>
            </a:r>
          </a:p>
        </p:txBody>
      </p:sp>
    </p:spTree>
    <p:extLst>
      <p:ext uri="{BB962C8B-B14F-4D97-AF65-F5344CB8AC3E}">
        <p14:creationId xmlns:p14="http://schemas.microsoft.com/office/powerpoint/2010/main" val="145988180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719673" cy="576000"/>
          </a:xfrm>
        </p:spPr>
        <p:txBody>
          <a:bodyPr/>
          <a:lstStyle/>
          <a:p>
            <a:r>
              <a:rPr lang="cs-CZ" dirty="0"/>
              <a:t>Úvod – zdroje dat a koncepce analýz </a:t>
            </a:r>
          </a:p>
        </p:txBody>
      </p:sp>
      <p:pic>
        <p:nvPicPr>
          <p:cNvPr id="12" name="Obrázek 11"/>
          <p:cNvPicPr>
            <a:picLocks noChangeAspect="1"/>
          </p:cNvPicPr>
          <p:nvPr/>
        </p:nvPicPr>
        <p:blipFill rotWithShape="1">
          <a:blip r:embed="rId2"/>
          <a:srcRect l="29757"/>
          <a:stretch/>
        </p:blipFill>
        <p:spPr>
          <a:xfrm>
            <a:off x="1762433" y="4150796"/>
            <a:ext cx="2770419" cy="2283052"/>
          </a:xfrm>
          <a:prstGeom prst="rect">
            <a:avLst/>
          </a:prstGeom>
        </p:spPr>
      </p:pic>
      <p:pic>
        <p:nvPicPr>
          <p:cNvPr id="13" name="Obrázek 1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86201" y="896112"/>
            <a:ext cx="3168556" cy="2484490"/>
          </a:xfrm>
          <a:prstGeom prst="rect">
            <a:avLst/>
          </a:prstGeom>
        </p:spPr>
      </p:pic>
      <p:sp>
        <p:nvSpPr>
          <p:cNvPr id="14" name="Šipka nahoru, doprava i doleva 13"/>
          <p:cNvSpPr/>
          <p:nvPr/>
        </p:nvSpPr>
        <p:spPr>
          <a:xfrm rot="16200000">
            <a:off x="-2074261" y="3478063"/>
            <a:ext cx="6194017" cy="467360"/>
          </a:xfrm>
          <a:prstGeom prst="leftRightUpArrow">
            <a:avLst/>
          </a:prstGeom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" name="Nadpis 5">
            <a:extLst>
              <a:ext uri="{FF2B5EF4-FFF2-40B4-BE49-F238E27FC236}">
                <a16:creationId xmlns:a16="http://schemas.microsoft.com/office/drawing/2014/main" id="{8181A883-E687-47DC-A882-8FB561F92926}"/>
              </a:ext>
            </a:extLst>
          </p:cNvPr>
          <p:cNvSpPr txBox="1">
            <a:spLocks/>
          </p:cNvSpPr>
          <p:nvPr/>
        </p:nvSpPr>
        <p:spPr>
          <a:xfrm rot="16200000">
            <a:off x="-2606131" y="3332358"/>
            <a:ext cx="5971034" cy="75877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2E5982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+mj-cs"/>
              </a:rPr>
              <a:t>COVID-19: </a:t>
            </a:r>
            <a:r>
              <a:rPr lang="cs-CZ" sz="1800" b="1" dirty="0">
                <a:solidFill>
                  <a:srgbClr val="2E5982"/>
                </a:solidFill>
                <a:latin typeface="Roboto" pitchFamily="2" charset="0"/>
                <a:ea typeface="Roboto" pitchFamily="2" charset="0"/>
              </a:rPr>
              <a:t>Komponenty informačního systému 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2E5982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+mj-cs"/>
              </a:rPr>
              <a:t>pokrývají individuální</a:t>
            </a:r>
            <a:r>
              <a:rPr kumimoji="0" lang="cs-CZ" sz="1800" b="0" i="0" u="none" strike="noStrike" kern="1200" cap="none" spc="0" normalizeH="0" noProof="0" dirty="0">
                <a:ln>
                  <a:noFill/>
                </a:ln>
                <a:solidFill>
                  <a:srgbClr val="2E5982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+mj-cs"/>
              </a:rPr>
              <a:t> záznamy o nákaze i šetření ohnisek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2E5982"/>
              </a:solidFill>
              <a:effectLst/>
              <a:uLnTx/>
              <a:uFillTx/>
              <a:latin typeface="Roboto" pitchFamily="2" charset="0"/>
              <a:ea typeface="Roboto" pitchFamily="2" charset="0"/>
              <a:cs typeface="+mj-cs"/>
            </a:endParaRPr>
          </a:p>
        </p:txBody>
      </p:sp>
      <p:sp>
        <p:nvSpPr>
          <p:cNvPr id="16" name="Nadpis 5">
            <a:extLst>
              <a:ext uri="{FF2B5EF4-FFF2-40B4-BE49-F238E27FC236}">
                <a16:creationId xmlns:a16="http://schemas.microsoft.com/office/drawing/2014/main" id="{8181A883-E687-47DC-A882-8FB561F92926}"/>
              </a:ext>
            </a:extLst>
          </p:cNvPr>
          <p:cNvSpPr txBox="1">
            <a:spLocks/>
          </p:cNvSpPr>
          <p:nvPr/>
        </p:nvSpPr>
        <p:spPr>
          <a:xfrm rot="19492727">
            <a:off x="4215712" y="1258975"/>
            <a:ext cx="2681764" cy="758771"/>
          </a:xfrm>
          <a:prstGeom prst="rect">
            <a:avLst/>
          </a:prstGeom>
          <a:solidFill>
            <a:schemeClr val="accent2"/>
          </a:solidFill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+mj-cs"/>
              </a:rPr>
              <a:t>Epidemická šetření 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+mj-cs"/>
              </a:rPr>
              <a:t>a záznamy o ohniscích 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 pitchFamily="2" charset="0"/>
              <a:ea typeface="Roboto" pitchFamily="2" charset="0"/>
              <a:cs typeface="+mj-cs"/>
            </a:endParaRPr>
          </a:p>
        </p:txBody>
      </p:sp>
      <p:sp>
        <p:nvSpPr>
          <p:cNvPr id="22" name="Nadpis 5">
            <a:extLst>
              <a:ext uri="{FF2B5EF4-FFF2-40B4-BE49-F238E27FC236}">
                <a16:creationId xmlns:a16="http://schemas.microsoft.com/office/drawing/2014/main" id="{8181A883-E687-47DC-A882-8FB561F92926}"/>
              </a:ext>
            </a:extLst>
          </p:cNvPr>
          <p:cNvSpPr txBox="1">
            <a:spLocks/>
          </p:cNvSpPr>
          <p:nvPr/>
        </p:nvSpPr>
        <p:spPr>
          <a:xfrm rot="19477356">
            <a:off x="4103084" y="4232334"/>
            <a:ext cx="2681764" cy="758771"/>
          </a:xfrm>
          <a:prstGeom prst="rect">
            <a:avLst/>
          </a:prstGeom>
          <a:solidFill>
            <a:schemeClr val="accent2"/>
          </a:solidFill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+mj-cs"/>
              </a:rPr>
              <a:t>Centrální systém ISIN 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+mj-cs"/>
              </a:rPr>
              <a:t>a jeho komponenty 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 pitchFamily="2" charset="0"/>
              <a:ea typeface="Roboto" pitchFamily="2" charset="0"/>
              <a:cs typeface="+mj-cs"/>
            </a:endParaRPr>
          </a:p>
        </p:txBody>
      </p:sp>
      <p:sp>
        <p:nvSpPr>
          <p:cNvPr id="3" name="TextovéPole 2"/>
          <p:cNvSpPr txBox="1"/>
          <p:nvPr/>
        </p:nvSpPr>
        <p:spPr>
          <a:xfrm>
            <a:off x="5788152" y="4746649"/>
            <a:ext cx="5971032" cy="20621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dividuální hlášení o nákaze v sociálních zařízeních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dividuální data o nákazách klientů a pracovníků sociálních zařízení. Zdrojem dat je Informační systém infekčních nemocí a jeho modul vyvinutý pro pobytová sociální zřízení. </a:t>
            </a:r>
            <a:r>
              <a:rPr lang="cs-CZ" sz="1600" dirty="0">
                <a:solidFill>
                  <a:srgbClr val="000000"/>
                </a:solidFill>
                <a:latin typeface="Arial" panose="020B0604020202020204"/>
              </a:rPr>
              <a:t>Záznam o nákaze 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emusí být nutně spojen s konkrétním ohniskem, jde o nezávislý paralelní zdroj dat.</a:t>
            </a:r>
            <a:r>
              <a:rPr kumimoji="0" lang="cs-CZ" sz="1600" b="0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Zejména nákaza pracovníků 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ůže proběhnout v rodině, v běžném životě, při volnočasových aktivitách, …. </a:t>
            </a:r>
          </a:p>
        </p:txBody>
      </p:sp>
      <p:sp>
        <p:nvSpPr>
          <p:cNvPr id="23" name="TextovéPole 22"/>
          <p:cNvSpPr txBox="1"/>
          <p:nvPr/>
        </p:nvSpPr>
        <p:spPr>
          <a:xfrm>
            <a:off x="6263640" y="1638360"/>
            <a:ext cx="5148072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dentifikace</a:t>
            </a:r>
            <a:r>
              <a:rPr kumimoji="0" lang="cs-CZ" sz="1600" b="1" i="0" u="none" strike="noStrike" kern="1200" cap="none" spc="0" normalizeH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ohnisek nákazy při šetřeních KHS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hniska nákazy a jejich identifikace, velikost a rozsah. Popis sociálních zařízení jako možného zdroje šíření nákazy s identifikací rozsahu tohoto šíření. Srovnání rizikovosti s jinými typy ohnisek, provozů a aktivit. Výstup epidemických šetření KHS. </a:t>
            </a:r>
          </a:p>
        </p:txBody>
      </p:sp>
    </p:spTree>
    <p:extLst>
      <p:ext uri="{BB962C8B-B14F-4D97-AF65-F5344CB8AC3E}">
        <p14:creationId xmlns:p14="http://schemas.microsoft.com/office/powerpoint/2010/main" val="9159517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F3DA7FDE-62BA-4179-BA4D-AB192F2667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2"/>
            <a:ext cx="7326652" cy="576000"/>
          </a:xfrm>
        </p:spPr>
        <p:txBody>
          <a:bodyPr/>
          <a:lstStyle/>
          <a:p>
            <a:r>
              <a:rPr lang="en-US" dirty="0"/>
              <a:t>Po</a:t>
            </a:r>
            <a:r>
              <a:rPr lang="cs-CZ" dirty="0"/>
              <a:t>čet nově pozitivních osob v sociálních službách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CBDB047-9B6A-4800-8865-B2F14B9CE230}"/>
              </a:ext>
            </a:extLst>
          </p:cNvPr>
          <p:cNvSpPr txBox="1"/>
          <p:nvPr/>
        </p:nvSpPr>
        <p:spPr>
          <a:xfrm rot="16200000">
            <a:off x="-1182697" y="3135089"/>
            <a:ext cx="307007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enní počet nových případů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98FB1B2-5954-4917-86E8-05CAC9208F90}"/>
              </a:ext>
            </a:extLst>
          </p:cNvPr>
          <p:cNvSpPr txBox="1"/>
          <p:nvPr/>
        </p:nvSpPr>
        <p:spPr>
          <a:xfrm>
            <a:off x="0" y="597841"/>
            <a:ext cx="344677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 dat: ISIN a ISIN – modul sociálních služeb</a:t>
            </a:r>
          </a:p>
        </p:txBody>
      </p:sp>
      <p:graphicFrame>
        <p:nvGraphicFramePr>
          <p:cNvPr id="10" name="Chart 31">
            <a:extLst>
              <a:ext uri="{FF2B5EF4-FFF2-40B4-BE49-F238E27FC236}">
                <a16:creationId xmlns:a16="http://schemas.microsoft.com/office/drawing/2014/main" id="{BE5C8BE7-0F1A-4F58-98DB-BC5FB33B5BD7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15486041"/>
              </p:ext>
            </p:extLst>
          </p:nvPr>
        </p:nvGraphicFramePr>
        <p:xfrm>
          <a:off x="479571" y="969185"/>
          <a:ext cx="11232858" cy="561223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8" name="Straight Connector 4">
            <a:extLst>
              <a:ext uri="{FF2B5EF4-FFF2-40B4-BE49-F238E27FC236}">
                <a16:creationId xmlns:a16="http://schemas.microsoft.com/office/drawing/2014/main" id="{E23433FB-4692-4304-9144-77DE8AA9A529}"/>
              </a:ext>
            </a:extLst>
          </p:cNvPr>
          <p:cNvCxnSpPr/>
          <p:nvPr/>
        </p:nvCxnSpPr>
        <p:spPr>
          <a:xfrm>
            <a:off x="8554802" y="1295549"/>
            <a:ext cx="360000" cy="0"/>
          </a:xfrm>
          <a:prstGeom prst="line">
            <a:avLst/>
          </a:prstGeom>
          <a:ln w="19050">
            <a:solidFill>
              <a:srgbClr val="00206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5">
            <a:extLst>
              <a:ext uri="{FF2B5EF4-FFF2-40B4-BE49-F238E27FC236}">
                <a16:creationId xmlns:a16="http://schemas.microsoft.com/office/drawing/2014/main" id="{792623A3-E899-4D9F-85FF-B10B9C35CD76}"/>
              </a:ext>
            </a:extLst>
          </p:cNvPr>
          <p:cNvSpPr txBox="1"/>
          <p:nvPr/>
        </p:nvSpPr>
        <p:spPr>
          <a:xfrm>
            <a:off x="8917060" y="1126275"/>
            <a:ext cx="228299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7 denní klouzavý průměr</a:t>
            </a:r>
          </a:p>
        </p:txBody>
      </p:sp>
    </p:spTree>
    <p:extLst>
      <p:ext uri="{BB962C8B-B14F-4D97-AF65-F5344CB8AC3E}">
        <p14:creationId xmlns:p14="http://schemas.microsoft.com/office/powerpoint/2010/main" val="149285169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FEE551CD-5D1A-483F-AF1A-60889BEEC2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789" y="2"/>
            <a:ext cx="8495561" cy="576000"/>
          </a:xfrm>
        </p:spPr>
        <p:txBody>
          <a:bodyPr/>
          <a:lstStyle/>
          <a:p>
            <a:r>
              <a:rPr lang="en-US" dirty="0"/>
              <a:t>Po</a:t>
            </a:r>
            <a:r>
              <a:rPr lang="cs-CZ" dirty="0"/>
              <a:t>čet nově pozitivních pracovníků a klientů v sociálních službách</a:t>
            </a:r>
          </a:p>
        </p:txBody>
      </p:sp>
      <p:sp>
        <p:nvSpPr>
          <p:cNvPr id="5" name="TextBox 6">
            <a:extLst>
              <a:ext uri="{FF2B5EF4-FFF2-40B4-BE49-F238E27FC236}">
                <a16:creationId xmlns:a16="http://schemas.microsoft.com/office/drawing/2014/main" id="{17B4FBDD-84FD-46F8-8DE6-0DA2912BA53C}"/>
              </a:ext>
            </a:extLst>
          </p:cNvPr>
          <p:cNvSpPr txBox="1"/>
          <p:nvPr/>
        </p:nvSpPr>
        <p:spPr>
          <a:xfrm>
            <a:off x="136358" y="674385"/>
            <a:ext cx="344677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 dat: ISIN a ISIN – modul sociálních služeb</a:t>
            </a:r>
          </a:p>
        </p:txBody>
      </p:sp>
      <p:graphicFrame>
        <p:nvGraphicFramePr>
          <p:cNvPr id="6" name="Tabulka 3">
            <a:extLst>
              <a:ext uri="{FF2B5EF4-FFF2-40B4-BE49-F238E27FC236}">
                <a16:creationId xmlns:a16="http://schemas.microsoft.com/office/drawing/2014/main" id="{53E0F6FE-76CB-4C62-8B30-56DAF497A36E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82094735"/>
              </p:ext>
            </p:extLst>
          </p:nvPr>
        </p:nvGraphicFramePr>
        <p:xfrm>
          <a:off x="136358" y="988368"/>
          <a:ext cx="11895238" cy="563399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23802">
                  <a:extLst>
                    <a:ext uri="{9D8B030D-6E8A-4147-A177-3AD203B41FA5}">
                      <a16:colId xmlns:a16="http://schemas.microsoft.com/office/drawing/2014/main" val="3047479697"/>
                    </a:ext>
                  </a:extLst>
                </a:gridCol>
                <a:gridCol w="334454">
                  <a:extLst>
                    <a:ext uri="{9D8B030D-6E8A-4147-A177-3AD203B41FA5}">
                      <a16:colId xmlns:a16="http://schemas.microsoft.com/office/drawing/2014/main" val="2271781488"/>
                    </a:ext>
                  </a:extLst>
                </a:gridCol>
                <a:gridCol w="334454">
                  <a:extLst>
                    <a:ext uri="{9D8B030D-6E8A-4147-A177-3AD203B41FA5}">
                      <a16:colId xmlns:a16="http://schemas.microsoft.com/office/drawing/2014/main" val="314435670"/>
                    </a:ext>
                  </a:extLst>
                </a:gridCol>
                <a:gridCol w="334454">
                  <a:extLst>
                    <a:ext uri="{9D8B030D-6E8A-4147-A177-3AD203B41FA5}">
                      <a16:colId xmlns:a16="http://schemas.microsoft.com/office/drawing/2014/main" val="1763857932"/>
                    </a:ext>
                  </a:extLst>
                </a:gridCol>
                <a:gridCol w="334454">
                  <a:extLst>
                    <a:ext uri="{9D8B030D-6E8A-4147-A177-3AD203B41FA5}">
                      <a16:colId xmlns:a16="http://schemas.microsoft.com/office/drawing/2014/main" val="325181686"/>
                    </a:ext>
                  </a:extLst>
                </a:gridCol>
                <a:gridCol w="334454">
                  <a:extLst>
                    <a:ext uri="{9D8B030D-6E8A-4147-A177-3AD203B41FA5}">
                      <a16:colId xmlns:a16="http://schemas.microsoft.com/office/drawing/2014/main" val="1571136039"/>
                    </a:ext>
                  </a:extLst>
                </a:gridCol>
                <a:gridCol w="334454">
                  <a:extLst>
                    <a:ext uri="{9D8B030D-6E8A-4147-A177-3AD203B41FA5}">
                      <a16:colId xmlns:a16="http://schemas.microsoft.com/office/drawing/2014/main" val="3539305636"/>
                    </a:ext>
                  </a:extLst>
                </a:gridCol>
                <a:gridCol w="334454">
                  <a:extLst>
                    <a:ext uri="{9D8B030D-6E8A-4147-A177-3AD203B41FA5}">
                      <a16:colId xmlns:a16="http://schemas.microsoft.com/office/drawing/2014/main" val="2277257797"/>
                    </a:ext>
                  </a:extLst>
                </a:gridCol>
                <a:gridCol w="334454">
                  <a:extLst>
                    <a:ext uri="{9D8B030D-6E8A-4147-A177-3AD203B41FA5}">
                      <a16:colId xmlns:a16="http://schemas.microsoft.com/office/drawing/2014/main" val="3625593324"/>
                    </a:ext>
                  </a:extLst>
                </a:gridCol>
                <a:gridCol w="334454">
                  <a:extLst>
                    <a:ext uri="{9D8B030D-6E8A-4147-A177-3AD203B41FA5}">
                      <a16:colId xmlns:a16="http://schemas.microsoft.com/office/drawing/2014/main" val="688367503"/>
                    </a:ext>
                  </a:extLst>
                </a:gridCol>
                <a:gridCol w="334454">
                  <a:extLst>
                    <a:ext uri="{9D8B030D-6E8A-4147-A177-3AD203B41FA5}">
                      <a16:colId xmlns:a16="http://schemas.microsoft.com/office/drawing/2014/main" val="2271328030"/>
                    </a:ext>
                  </a:extLst>
                </a:gridCol>
                <a:gridCol w="334454">
                  <a:extLst>
                    <a:ext uri="{9D8B030D-6E8A-4147-A177-3AD203B41FA5}">
                      <a16:colId xmlns:a16="http://schemas.microsoft.com/office/drawing/2014/main" val="192388027"/>
                    </a:ext>
                  </a:extLst>
                </a:gridCol>
                <a:gridCol w="334454">
                  <a:extLst>
                    <a:ext uri="{9D8B030D-6E8A-4147-A177-3AD203B41FA5}">
                      <a16:colId xmlns:a16="http://schemas.microsoft.com/office/drawing/2014/main" val="3550907162"/>
                    </a:ext>
                  </a:extLst>
                </a:gridCol>
                <a:gridCol w="334454">
                  <a:extLst>
                    <a:ext uri="{9D8B030D-6E8A-4147-A177-3AD203B41FA5}">
                      <a16:colId xmlns:a16="http://schemas.microsoft.com/office/drawing/2014/main" val="3480803464"/>
                    </a:ext>
                  </a:extLst>
                </a:gridCol>
                <a:gridCol w="334454">
                  <a:extLst>
                    <a:ext uri="{9D8B030D-6E8A-4147-A177-3AD203B41FA5}">
                      <a16:colId xmlns:a16="http://schemas.microsoft.com/office/drawing/2014/main" val="1836441410"/>
                    </a:ext>
                  </a:extLst>
                </a:gridCol>
                <a:gridCol w="334454">
                  <a:extLst>
                    <a:ext uri="{9D8B030D-6E8A-4147-A177-3AD203B41FA5}">
                      <a16:colId xmlns:a16="http://schemas.microsoft.com/office/drawing/2014/main" val="2391611248"/>
                    </a:ext>
                  </a:extLst>
                </a:gridCol>
                <a:gridCol w="334454">
                  <a:extLst>
                    <a:ext uri="{9D8B030D-6E8A-4147-A177-3AD203B41FA5}">
                      <a16:colId xmlns:a16="http://schemas.microsoft.com/office/drawing/2014/main" val="3839918417"/>
                    </a:ext>
                  </a:extLst>
                </a:gridCol>
                <a:gridCol w="334454">
                  <a:extLst>
                    <a:ext uri="{9D8B030D-6E8A-4147-A177-3AD203B41FA5}">
                      <a16:colId xmlns:a16="http://schemas.microsoft.com/office/drawing/2014/main" val="3617351457"/>
                    </a:ext>
                  </a:extLst>
                </a:gridCol>
                <a:gridCol w="334454">
                  <a:extLst>
                    <a:ext uri="{9D8B030D-6E8A-4147-A177-3AD203B41FA5}">
                      <a16:colId xmlns:a16="http://schemas.microsoft.com/office/drawing/2014/main" val="3761139449"/>
                    </a:ext>
                  </a:extLst>
                </a:gridCol>
                <a:gridCol w="334454">
                  <a:extLst>
                    <a:ext uri="{9D8B030D-6E8A-4147-A177-3AD203B41FA5}">
                      <a16:colId xmlns:a16="http://schemas.microsoft.com/office/drawing/2014/main" val="3448031023"/>
                    </a:ext>
                  </a:extLst>
                </a:gridCol>
                <a:gridCol w="334454">
                  <a:extLst>
                    <a:ext uri="{9D8B030D-6E8A-4147-A177-3AD203B41FA5}">
                      <a16:colId xmlns:a16="http://schemas.microsoft.com/office/drawing/2014/main" val="1245696759"/>
                    </a:ext>
                  </a:extLst>
                </a:gridCol>
                <a:gridCol w="334454">
                  <a:extLst>
                    <a:ext uri="{9D8B030D-6E8A-4147-A177-3AD203B41FA5}">
                      <a16:colId xmlns:a16="http://schemas.microsoft.com/office/drawing/2014/main" val="4234486556"/>
                    </a:ext>
                  </a:extLst>
                </a:gridCol>
                <a:gridCol w="334454">
                  <a:extLst>
                    <a:ext uri="{9D8B030D-6E8A-4147-A177-3AD203B41FA5}">
                      <a16:colId xmlns:a16="http://schemas.microsoft.com/office/drawing/2014/main" val="3479360587"/>
                    </a:ext>
                  </a:extLst>
                </a:gridCol>
                <a:gridCol w="334454">
                  <a:extLst>
                    <a:ext uri="{9D8B030D-6E8A-4147-A177-3AD203B41FA5}">
                      <a16:colId xmlns:a16="http://schemas.microsoft.com/office/drawing/2014/main" val="2973468614"/>
                    </a:ext>
                  </a:extLst>
                </a:gridCol>
                <a:gridCol w="334454">
                  <a:extLst>
                    <a:ext uri="{9D8B030D-6E8A-4147-A177-3AD203B41FA5}">
                      <a16:colId xmlns:a16="http://schemas.microsoft.com/office/drawing/2014/main" val="1254722975"/>
                    </a:ext>
                  </a:extLst>
                </a:gridCol>
                <a:gridCol w="334454">
                  <a:extLst>
                    <a:ext uri="{9D8B030D-6E8A-4147-A177-3AD203B41FA5}">
                      <a16:colId xmlns:a16="http://schemas.microsoft.com/office/drawing/2014/main" val="2146802987"/>
                    </a:ext>
                  </a:extLst>
                </a:gridCol>
                <a:gridCol w="334454">
                  <a:extLst>
                    <a:ext uri="{9D8B030D-6E8A-4147-A177-3AD203B41FA5}">
                      <a16:colId xmlns:a16="http://schemas.microsoft.com/office/drawing/2014/main" val="6635052"/>
                    </a:ext>
                  </a:extLst>
                </a:gridCol>
                <a:gridCol w="334454">
                  <a:extLst>
                    <a:ext uri="{9D8B030D-6E8A-4147-A177-3AD203B41FA5}">
                      <a16:colId xmlns:a16="http://schemas.microsoft.com/office/drawing/2014/main" val="629925830"/>
                    </a:ext>
                  </a:extLst>
                </a:gridCol>
                <a:gridCol w="334454">
                  <a:extLst>
                    <a:ext uri="{9D8B030D-6E8A-4147-A177-3AD203B41FA5}">
                      <a16:colId xmlns:a16="http://schemas.microsoft.com/office/drawing/2014/main" val="2698107976"/>
                    </a:ext>
                  </a:extLst>
                </a:gridCol>
                <a:gridCol w="334454">
                  <a:extLst>
                    <a:ext uri="{9D8B030D-6E8A-4147-A177-3AD203B41FA5}">
                      <a16:colId xmlns:a16="http://schemas.microsoft.com/office/drawing/2014/main" val="4234489596"/>
                    </a:ext>
                  </a:extLst>
                </a:gridCol>
                <a:gridCol w="334454">
                  <a:extLst>
                    <a:ext uri="{9D8B030D-6E8A-4147-A177-3AD203B41FA5}">
                      <a16:colId xmlns:a16="http://schemas.microsoft.com/office/drawing/2014/main" val="1871110924"/>
                    </a:ext>
                  </a:extLst>
                </a:gridCol>
                <a:gridCol w="334454">
                  <a:extLst>
                    <a:ext uri="{9D8B030D-6E8A-4147-A177-3AD203B41FA5}">
                      <a16:colId xmlns:a16="http://schemas.microsoft.com/office/drawing/2014/main" val="715990891"/>
                    </a:ext>
                  </a:extLst>
                </a:gridCol>
                <a:gridCol w="334454">
                  <a:extLst>
                    <a:ext uri="{9D8B030D-6E8A-4147-A177-3AD203B41FA5}">
                      <a16:colId xmlns:a16="http://schemas.microsoft.com/office/drawing/2014/main" val="1852910522"/>
                    </a:ext>
                  </a:extLst>
                </a:gridCol>
                <a:gridCol w="334454">
                  <a:extLst>
                    <a:ext uri="{9D8B030D-6E8A-4147-A177-3AD203B41FA5}">
                      <a16:colId xmlns:a16="http://schemas.microsoft.com/office/drawing/2014/main" val="502735584"/>
                    </a:ext>
                  </a:extLst>
                </a:gridCol>
                <a:gridCol w="334454">
                  <a:extLst>
                    <a:ext uri="{9D8B030D-6E8A-4147-A177-3AD203B41FA5}">
                      <a16:colId xmlns:a16="http://schemas.microsoft.com/office/drawing/2014/main" val="3074888153"/>
                    </a:ext>
                  </a:extLst>
                </a:gridCol>
              </a:tblGrid>
              <a:tr h="602086">
                <a:tc>
                  <a:txBody>
                    <a:bodyPr/>
                    <a:lstStyle/>
                    <a:p>
                      <a:endParaRPr lang="cs-CZ" dirty="0"/>
                    </a:p>
                  </a:txBody>
                  <a:tcPr anchor="ctr"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1200" dirty="0"/>
                        <a:t>Září</a:t>
                      </a:r>
                    </a:p>
                    <a:p>
                      <a:pPr algn="ctr"/>
                      <a:r>
                        <a:rPr lang="cs-CZ" sz="1200" dirty="0"/>
                        <a:t> 2020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1200" dirty="0"/>
                        <a:t>Říjen 2020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1200" dirty="0"/>
                        <a:t>Listopad 2020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1200" dirty="0"/>
                        <a:t>Prosinec 2020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1200" dirty="0"/>
                        <a:t>Leden 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cs-CZ" sz="12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Únor 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cs-CZ" sz="1400" b="0" dirty="0"/>
                    </a:p>
                  </a:txBody>
                  <a:tcPr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cs-CZ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Březen 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Duben 2021</a:t>
                      </a:r>
                      <a:endParaRPr lang="cs-CZ" sz="6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cs-CZ" sz="1800" b="0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Květen</a:t>
                      </a:r>
                      <a:br>
                        <a:rPr lang="cs-CZ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cs-CZ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2021</a:t>
                      </a:r>
                      <a:endParaRPr lang="cs-CZ" sz="1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7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Červen</a:t>
                      </a:r>
                      <a:br>
                        <a:rPr lang="cs-CZ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cs-CZ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3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Červenec 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7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Srpen</a:t>
                      </a:r>
                      <a:br>
                        <a:rPr lang="cs-CZ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cs-CZ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3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1200"/>
                        <a:t>Září </a:t>
                      </a:r>
                    </a:p>
                    <a:p>
                      <a:pPr algn="ctr"/>
                      <a:r>
                        <a:rPr lang="cs-CZ" sz="1200"/>
                        <a:t>2021</a:t>
                      </a:r>
                      <a:endParaRPr lang="cs-CZ" sz="800" dirty="0"/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Říjen 2021</a:t>
                      </a:r>
                      <a:endParaRPr kumimoji="0" lang="cs-CZ" sz="7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cs-CZ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istopad 2021</a:t>
                      </a:r>
                      <a:endParaRPr kumimoji="0" lang="cs-CZ" sz="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cs-CZ" sz="7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Prosinec 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cs-CZ" sz="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eden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2022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800" dirty="0"/>
                        <a:t>– k 15. 1.</a:t>
                      </a:r>
                      <a:endParaRPr kumimoji="0" lang="cs-CZ" sz="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cs-CZ" sz="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92365609"/>
                  </a:ext>
                </a:extLst>
              </a:tr>
              <a:tr h="316887">
                <a:tc>
                  <a:txBody>
                    <a:bodyPr/>
                    <a:lstStyle/>
                    <a:p>
                      <a:endParaRPr lang="cs-CZ" sz="1200" dirty="0"/>
                    </a:p>
                  </a:txBody>
                  <a:tcPr anchor="ctr"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35280528"/>
                  </a:ext>
                </a:extLst>
              </a:tr>
              <a:tr h="29942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HA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7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3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4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4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4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718626163"/>
                  </a:ext>
                </a:extLst>
              </a:tr>
              <a:tr h="29942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C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5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023884216"/>
                  </a:ext>
                </a:extLst>
              </a:tr>
              <a:tr h="29942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HC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901331205"/>
                  </a:ext>
                </a:extLst>
              </a:tr>
              <a:tr h="29942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K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89182480"/>
                  </a:ext>
                </a:extLst>
              </a:tr>
              <a:tr h="29942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VK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61071944"/>
                  </a:ext>
                </a:extLst>
              </a:tr>
              <a:tr h="29942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LK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397107956"/>
                  </a:ext>
                </a:extLst>
              </a:tr>
              <a:tr h="29942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BK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50750352"/>
                  </a:ext>
                </a:extLst>
              </a:tr>
              <a:tr h="390168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KK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699752620"/>
                  </a:ext>
                </a:extLst>
              </a:tr>
              <a:tr h="29942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K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125061497"/>
                  </a:ext>
                </a:extLst>
              </a:tr>
              <a:tr h="29942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YS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656524218"/>
                  </a:ext>
                </a:extLst>
              </a:tr>
              <a:tr h="29942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MK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927203803"/>
                  </a:ext>
                </a:extLst>
              </a:tr>
              <a:tr h="29942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K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532720954"/>
                  </a:ext>
                </a:extLst>
              </a:tr>
              <a:tr h="29942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K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806938670"/>
                  </a:ext>
                </a:extLst>
              </a:tr>
              <a:tr h="390168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SK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13666540"/>
                  </a:ext>
                </a:extLst>
              </a:tr>
              <a:tr h="29942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ý součet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7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3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8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3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7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5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5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2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2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8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48482282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2751974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F3DA7FDE-62BA-4179-BA4D-AB192F2667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2"/>
            <a:ext cx="7326652" cy="576000"/>
          </a:xfrm>
        </p:spPr>
        <p:txBody>
          <a:bodyPr/>
          <a:lstStyle/>
          <a:p>
            <a:r>
              <a:rPr lang="en-US" dirty="0"/>
              <a:t>Po</a:t>
            </a:r>
            <a:r>
              <a:rPr lang="cs-CZ" dirty="0"/>
              <a:t>čet zemřelých klientů v sociálních službách</a:t>
            </a:r>
          </a:p>
        </p:txBody>
      </p:sp>
      <p:graphicFrame>
        <p:nvGraphicFramePr>
          <p:cNvPr id="32" name="Chart 31">
            <a:extLst>
              <a:ext uri="{FF2B5EF4-FFF2-40B4-BE49-F238E27FC236}">
                <a16:creationId xmlns:a16="http://schemas.microsoft.com/office/drawing/2014/main" id="{60173AA5-760E-4890-90E2-16710D92A897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03432342"/>
              </p:ext>
            </p:extLst>
          </p:nvPr>
        </p:nvGraphicFramePr>
        <p:xfrm>
          <a:off x="352338" y="934057"/>
          <a:ext cx="11232858" cy="561223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CBDB047-9B6A-4800-8865-B2F14B9CE230}"/>
              </a:ext>
            </a:extLst>
          </p:cNvPr>
          <p:cNvSpPr txBox="1"/>
          <p:nvPr/>
        </p:nvSpPr>
        <p:spPr>
          <a:xfrm rot="16200000">
            <a:off x="-1201932" y="3135089"/>
            <a:ext cx="31085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enní počet nově zemřelých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98FB1B2-5954-4917-86E8-05CAC9208F90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0" y="597841"/>
            <a:ext cx="344677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 dat: ISIN a ISIN – modul sociálních služeb</a:t>
            </a:r>
          </a:p>
        </p:txBody>
      </p:sp>
      <p:cxnSp>
        <p:nvCxnSpPr>
          <p:cNvPr id="8" name="Straight Connector 4">
            <a:extLst>
              <a:ext uri="{FF2B5EF4-FFF2-40B4-BE49-F238E27FC236}">
                <a16:creationId xmlns:a16="http://schemas.microsoft.com/office/drawing/2014/main" id="{FA40DFCF-4D37-4845-98CB-EE8BCD3CF07B}"/>
              </a:ext>
            </a:extLst>
          </p:cNvPr>
          <p:cNvCxnSpPr/>
          <p:nvPr/>
        </p:nvCxnSpPr>
        <p:spPr>
          <a:xfrm>
            <a:off x="8554802" y="1295549"/>
            <a:ext cx="360000" cy="0"/>
          </a:xfrm>
          <a:prstGeom prst="line">
            <a:avLst/>
          </a:prstGeom>
          <a:ln w="19050">
            <a:solidFill>
              <a:srgbClr val="00206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5">
            <a:extLst>
              <a:ext uri="{FF2B5EF4-FFF2-40B4-BE49-F238E27FC236}">
                <a16:creationId xmlns:a16="http://schemas.microsoft.com/office/drawing/2014/main" id="{FE5136B3-EEEC-483C-9FC4-B83BA247145B}"/>
              </a:ext>
            </a:extLst>
          </p:cNvPr>
          <p:cNvSpPr txBox="1"/>
          <p:nvPr/>
        </p:nvSpPr>
        <p:spPr>
          <a:xfrm>
            <a:off x="8917060" y="1126275"/>
            <a:ext cx="228299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7 denní klouzavý průměr</a:t>
            </a:r>
          </a:p>
        </p:txBody>
      </p:sp>
    </p:spTree>
    <p:extLst>
      <p:ext uri="{BB962C8B-B14F-4D97-AF65-F5344CB8AC3E}">
        <p14:creationId xmlns:p14="http://schemas.microsoft.com/office/powerpoint/2010/main" val="396840603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FEE551CD-5D1A-483F-AF1A-60889BEEC2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789" y="2"/>
            <a:ext cx="8495561" cy="576000"/>
          </a:xfrm>
        </p:spPr>
        <p:txBody>
          <a:bodyPr/>
          <a:lstStyle/>
          <a:p>
            <a:r>
              <a:rPr lang="en-US" dirty="0"/>
              <a:t>Po</a:t>
            </a:r>
            <a:r>
              <a:rPr lang="cs-CZ" dirty="0"/>
              <a:t>čet zemřelých klientů a pracovníků v sociálních službách</a:t>
            </a:r>
          </a:p>
        </p:txBody>
      </p:sp>
      <p:sp>
        <p:nvSpPr>
          <p:cNvPr id="5" name="TextBox 6">
            <a:extLst>
              <a:ext uri="{FF2B5EF4-FFF2-40B4-BE49-F238E27FC236}">
                <a16:creationId xmlns:a16="http://schemas.microsoft.com/office/drawing/2014/main" id="{17B4FBDD-84FD-46F8-8DE6-0DA2912BA53C}"/>
              </a:ext>
            </a:extLst>
          </p:cNvPr>
          <p:cNvSpPr txBox="1"/>
          <p:nvPr/>
        </p:nvSpPr>
        <p:spPr>
          <a:xfrm>
            <a:off x="136358" y="674385"/>
            <a:ext cx="344677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 dat: ISIN a ISIN – modul sociálních služeb</a:t>
            </a:r>
          </a:p>
        </p:txBody>
      </p:sp>
      <p:graphicFrame>
        <p:nvGraphicFramePr>
          <p:cNvPr id="7" name="Tabulka 3">
            <a:extLst>
              <a:ext uri="{FF2B5EF4-FFF2-40B4-BE49-F238E27FC236}">
                <a16:creationId xmlns:a16="http://schemas.microsoft.com/office/drawing/2014/main" id="{EA3F3409-560C-4B9F-89F0-F5AF9408008B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02852715"/>
              </p:ext>
            </p:extLst>
          </p:nvPr>
        </p:nvGraphicFramePr>
        <p:xfrm>
          <a:off x="136358" y="988368"/>
          <a:ext cx="11895238" cy="563399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23802">
                  <a:extLst>
                    <a:ext uri="{9D8B030D-6E8A-4147-A177-3AD203B41FA5}">
                      <a16:colId xmlns:a16="http://schemas.microsoft.com/office/drawing/2014/main" val="3047479697"/>
                    </a:ext>
                  </a:extLst>
                </a:gridCol>
                <a:gridCol w="334454">
                  <a:extLst>
                    <a:ext uri="{9D8B030D-6E8A-4147-A177-3AD203B41FA5}">
                      <a16:colId xmlns:a16="http://schemas.microsoft.com/office/drawing/2014/main" val="2271781488"/>
                    </a:ext>
                  </a:extLst>
                </a:gridCol>
                <a:gridCol w="334454">
                  <a:extLst>
                    <a:ext uri="{9D8B030D-6E8A-4147-A177-3AD203B41FA5}">
                      <a16:colId xmlns:a16="http://schemas.microsoft.com/office/drawing/2014/main" val="314435670"/>
                    </a:ext>
                  </a:extLst>
                </a:gridCol>
                <a:gridCol w="334454">
                  <a:extLst>
                    <a:ext uri="{9D8B030D-6E8A-4147-A177-3AD203B41FA5}">
                      <a16:colId xmlns:a16="http://schemas.microsoft.com/office/drawing/2014/main" val="1763857932"/>
                    </a:ext>
                  </a:extLst>
                </a:gridCol>
                <a:gridCol w="334454">
                  <a:extLst>
                    <a:ext uri="{9D8B030D-6E8A-4147-A177-3AD203B41FA5}">
                      <a16:colId xmlns:a16="http://schemas.microsoft.com/office/drawing/2014/main" val="325181686"/>
                    </a:ext>
                  </a:extLst>
                </a:gridCol>
                <a:gridCol w="334454">
                  <a:extLst>
                    <a:ext uri="{9D8B030D-6E8A-4147-A177-3AD203B41FA5}">
                      <a16:colId xmlns:a16="http://schemas.microsoft.com/office/drawing/2014/main" val="1571136039"/>
                    </a:ext>
                  </a:extLst>
                </a:gridCol>
                <a:gridCol w="334454">
                  <a:extLst>
                    <a:ext uri="{9D8B030D-6E8A-4147-A177-3AD203B41FA5}">
                      <a16:colId xmlns:a16="http://schemas.microsoft.com/office/drawing/2014/main" val="3539305636"/>
                    </a:ext>
                  </a:extLst>
                </a:gridCol>
                <a:gridCol w="334454">
                  <a:extLst>
                    <a:ext uri="{9D8B030D-6E8A-4147-A177-3AD203B41FA5}">
                      <a16:colId xmlns:a16="http://schemas.microsoft.com/office/drawing/2014/main" val="2277257797"/>
                    </a:ext>
                  </a:extLst>
                </a:gridCol>
                <a:gridCol w="334454">
                  <a:extLst>
                    <a:ext uri="{9D8B030D-6E8A-4147-A177-3AD203B41FA5}">
                      <a16:colId xmlns:a16="http://schemas.microsoft.com/office/drawing/2014/main" val="3625593324"/>
                    </a:ext>
                  </a:extLst>
                </a:gridCol>
                <a:gridCol w="334454">
                  <a:extLst>
                    <a:ext uri="{9D8B030D-6E8A-4147-A177-3AD203B41FA5}">
                      <a16:colId xmlns:a16="http://schemas.microsoft.com/office/drawing/2014/main" val="688367503"/>
                    </a:ext>
                  </a:extLst>
                </a:gridCol>
                <a:gridCol w="334454">
                  <a:extLst>
                    <a:ext uri="{9D8B030D-6E8A-4147-A177-3AD203B41FA5}">
                      <a16:colId xmlns:a16="http://schemas.microsoft.com/office/drawing/2014/main" val="2271328030"/>
                    </a:ext>
                  </a:extLst>
                </a:gridCol>
                <a:gridCol w="334454">
                  <a:extLst>
                    <a:ext uri="{9D8B030D-6E8A-4147-A177-3AD203B41FA5}">
                      <a16:colId xmlns:a16="http://schemas.microsoft.com/office/drawing/2014/main" val="192388027"/>
                    </a:ext>
                  </a:extLst>
                </a:gridCol>
                <a:gridCol w="334454">
                  <a:extLst>
                    <a:ext uri="{9D8B030D-6E8A-4147-A177-3AD203B41FA5}">
                      <a16:colId xmlns:a16="http://schemas.microsoft.com/office/drawing/2014/main" val="3550907162"/>
                    </a:ext>
                  </a:extLst>
                </a:gridCol>
                <a:gridCol w="334454">
                  <a:extLst>
                    <a:ext uri="{9D8B030D-6E8A-4147-A177-3AD203B41FA5}">
                      <a16:colId xmlns:a16="http://schemas.microsoft.com/office/drawing/2014/main" val="3480803464"/>
                    </a:ext>
                  </a:extLst>
                </a:gridCol>
                <a:gridCol w="334454">
                  <a:extLst>
                    <a:ext uri="{9D8B030D-6E8A-4147-A177-3AD203B41FA5}">
                      <a16:colId xmlns:a16="http://schemas.microsoft.com/office/drawing/2014/main" val="1836441410"/>
                    </a:ext>
                  </a:extLst>
                </a:gridCol>
                <a:gridCol w="334454">
                  <a:extLst>
                    <a:ext uri="{9D8B030D-6E8A-4147-A177-3AD203B41FA5}">
                      <a16:colId xmlns:a16="http://schemas.microsoft.com/office/drawing/2014/main" val="2391611248"/>
                    </a:ext>
                  </a:extLst>
                </a:gridCol>
                <a:gridCol w="334454">
                  <a:extLst>
                    <a:ext uri="{9D8B030D-6E8A-4147-A177-3AD203B41FA5}">
                      <a16:colId xmlns:a16="http://schemas.microsoft.com/office/drawing/2014/main" val="3839918417"/>
                    </a:ext>
                  </a:extLst>
                </a:gridCol>
                <a:gridCol w="334454">
                  <a:extLst>
                    <a:ext uri="{9D8B030D-6E8A-4147-A177-3AD203B41FA5}">
                      <a16:colId xmlns:a16="http://schemas.microsoft.com/office/drawing/2014/main" val="3617351457"/>
                    </a:ext>
                  </a:extLst>
                </a:gridCol>
                <a:gridCol w="334454">
                  <a:extLst>
                    <a:ext uri="{9D8B030D-6E8A-4147-A177-3AD203B41FA5}">
                      <a16:colId xmlns:a16="http://schemas.microsoft.com/office/drawing/2014/main" val="3761139449"/>
                    </a:ext>
                  </a:extLst>
                </a:gridCol>
                <a:gridCol w="334454">
                  <a:extLst>
                    <a:ext uri="{9D8B030D-6E8A-4147-A177-3AD203B41FA5}">
                      <a16:colId xmlns:a16="http://schemas.microsoft.com/office/drawing/2014/main" val="3448031023"/>
                    </a:ext>
                  </a:extLst>
                </a:gridCol>
                <a:gridCol w="334454">
                  <a:extLst>
                    <a:ext uri="{9D8B030D-6E8A-4147-A177-3AD203B41FA5}">
                      <a16:colId xmlns:a16="http://schemas.microsoft.com/office/drawing/2014/main" val="1245696759"/>
                    </a:ext>
                  </a:extLst>
                </a:gridCol>
                <a:gridCol w="334454">
                  <a:extLst>
                    <a:ext uri="{9D8B030D-6E8A-4147-A177-3AD203B41FA5}">
                      <a16:colId xmlns:a16="http://schemas.microsoft.com/office/drawing/2014/main" val="4234486556"/>
                    </a:ext>
                  </a:extLst>
                </a:gridCol>
                <a:gridCol w="334454">
                  <a:extLst>
                    <a:ext uri="{9D8B030D-6E8A-4147-A177-3AD203B41FA5}">
                      <a16:colId xmlns:a16="http://schemas.microsoft.com/office/drawing/2014/main" val="3479360587"/>
                    </a:ext>
                  </a:extLst>
                </a:gridCol>
                <a:gridCol w="334454">
                  <a:extLst>
                    <a:ext uri="{9D8B030D-6E8A-4147-A177-3AD203B41FA5}">
                      <a16:colId xmlns:a16="http://schemas.microsoft.com/office/drawing/2014/main" val="2973468614"/>
                    </a:ext>
                  </a:extLst>
                </a:gridCol>
                <a:gridCol w="334454">
                  <a:extLst>
                    <a:ext uri="{9D8B030D-6E8A-4147-A177-3AD203B41FA5}">
                      <a16:colId xmlns:a16="http://schemas.microsoft.com/office/drawing/2014/main" val="1254722975"/>
                    </a:ext>
                  </a:extLst>
                </a:gridCol>
                <a:gridCol w="334454">
                  <a:extLst>
                    <a:ext uri="{9D8B030D-6E8A-4147-A177-3AD203B41FA5}">
                      <a16:colId xmlns:a16="http://schemas.microsoft.com/office/drawing/2014/main" val="2146802987"/>
                    </a:ext>
                  </a:extLst>
                </a:gridCol>
                <a:gridCol w="334454">
                  <a:extLst>
                    <a:ext uri="{9D8B030D-6E8A-4147-A177-3AD203B41FA5}">
                      <a16:colId xmlns:a16="http://schemas.microsoft.com/office/drawing/2014/main" val="6635052"/>
                    </a:ext>
                  </a:extLst>
                </a:gridCol>
                <a:gridCol w="334454">
                  <a:extLst>
                    <a:ext uri="{9D8B030D-6E8A-4147-A177-3AD203B41FA5}">
                      <a16:colId xmlns:a16="http://schemas.microsoft.com/office/drawing/2014/main" val="629925830"/>
                    </a:ext>
                  </a:extLst>
                </a:gridCol>
                <a:gridCol w="334454">
                  <a:extLst>
                    <a:ext uri="{9D8B030D-6E8A-4147-A177-3AD203B41FA5}">
                      <a16:colId xmlns:a16="http://schemas.microsoft.com/office/drawing/2014/main" val="2698107976"/>
                    </a:ext>
                  </a:extLst>
                </a:gridCol>
                <a:gridCol w="334454">
                  <a:extLst>
                    <a:ext uri="{9D8B030D-6E8A-4147-A177-3AD203B41FA5}">
                      <a16:colId xmlns:a16="http://schemas.microsoft.com/office/drawing/2014/main" val="4234489596"/>
                    </a:ext>
                  </a:extLst>
                </a:gridCol>
                <a:gridCol w="334454">
                  <a:extLst>
                    <a:ext uri="{9D8B030D-6E8A-4147-A177-3AD203B41FA5}">
                      <a16:colId xmlns:a16="http://schemas.microsoft.com/office/drawing/2014/main" val="1871110924"/>
                    </a:ext>
                  </a:extLst>
                </a:gridCol>
                <a:gridCol w="334454">
                  <a:extLst>
                    <a:ext uri="{9D8B030D-6E8A-4147-A177-3AD203B41FA5}">
                      <a16:colId xmlns:a16="http://schemas.microsoft.com/office/drawing/2014/main" val="715990891"/>
                    </a:ext>
                  </a:extLst>
                </a:gridCol>
                <a:gridCol w="334454">
                  <a:extLst>
                    <a:ext uri="{9D8B030D-6E8A-4147-A177-3AD203B41FA5}">
                      <a16:colId xmlns:a16="http://schemas.microsoft.com/office/drawing/2014/main" val="1852910522"/>
                    </a:ext>
                  </a:extLst>
                </a:gridCol>
                <a:gridCol w="334454">
                  <a:extLst>
                    <a:ext uri="{9D8B030D-6E8A-4147-A177-3AD203B41FA5}">
                      <a16:colId xmlns:a16="http://schemas.microsoft.com/office/drawing/2014/main" val="502735584"/>
                    </a:ext>
                  </a:extLst>
                </a:gridCol>
                <a:gridCol w="334454">
                  <a:extLst>
                    <a:ext uri="{9D8B030D-6E8A-4147-A177-3AD203B41FA5}">
                      <a16:colId xmlns:a16="http://schemas.microsoft.com/office/drawing/2014/main" val="3074888153"/>
                    </a:ext>
                  </a:extLst>
                </a:gridCol>
              </a:tblGrid>
              <a:tr h="602086">
                <a:tc>
                  <a:txBody>
                    <a:bodyPr/>
                    <a:lstStyle/>
                    <a:p>
                      <a:endParaRPr lang="cs-CZ" dirty="0"/>
                    </a:p>
                  </a:txBody>
                  <a:tcPr anchor="ctr"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1200" dirty="0"/>
                        <a:t>Září </a:t>
                      </a:r>
                    </a:p>
                    <a:p>
                      <a:pPr algn="ctr"/>
                      <a:r>
                        <a:rPr lang="cs-CZ" sz="1200" dirty="0"/>
                        <a:t>2020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1200" dirty="0"/>
                        <a:t>Říjen 2020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1200" dirty="0"/>
                        <a:t>Listopad 2020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1200" dirty="0"/>
                        <a:t>Prosinec 2020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1200" dirty="0"/>
                        <a:t>Leden 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cs-CZ" sz="12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Únor 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cs-CZ" sz="1400" b="0" dirty="0"/>
                    </a:p>
                  </a:txBody>
                  <a:tcPr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cs-CZ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Březen 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Duben 2021</a:t>
                      </a:r>
                      <a:endParaRPr lang="cs-CZ" sz="6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cs-CZ" sz="1800" b="0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Květen</a:t>
                      </a:r>
                      <a:br>
                        <a:rPr lang="cs-CZ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cs-CZ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2021</a:t>
                      </a:r>
                      <a:endParaRPr lang="cs-CZ" sz="1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7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Červen</a:t>
                      </a:r>
                      <a:br>
                        <a:rPr lang="cs-CZ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cs-CZ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3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Červenec 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7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Srpen</a:t>
                      </a:r>
                      <a:br>
                        <a:rPr lang="cs-CZ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cs-CZ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3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1200" dirty="0"/>
                        <a:t>Září </a:t>
                      </a:r>
                    </a:p>
                    <a:p>
                      <a:pPr algn="ctr"/>
                      <a:r>
                        <a:rPr lang="cs-CZ" sz="1200" dirty="0"/>
                        <a:t>2021</a:t>
                      </a:r>
                      <a:endParaRPr lang="cs-CZ" sz="800" dirty="0"/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Říjen 2021</a:t>
                      </a:r>
                      <a:endParaRPr kumimoji="0" lang="cs-CZ" sz="7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cs-CZ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istopad 2021</a:t>
                      </a:r>
                      <a:endParaRPr kumimoji="0" lang="cs-CZ" sz="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cs-CZ" sz="7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Prosinec 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cs-CZ" sz="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eden 2022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800" dirty="0"/>
                        <a:t>– k 15. 1. </a:t>
                      </a:r>
                      <a:endParaRPr kumimoji="0" lang="cs-CZ" sz="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cs-CZ" sz="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92365609"/>
                  </a:ext>
                </a:extLst>
              </a:tr>
              <a:tr h="316887">
                <a:tc>
                  <a:txBody>
                    <a:bodyPr/>
                    <a:lstStyle/>
                    <a:p>
                      <a:endParaRPr lang="cs-CZ" sz="1200" dirty="0"/>
                    </a:p>
                  </a:txBody>
                  <a:tcPr anchor="ctr"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35280528"/>
                  </a:ext>
                </a:extLst>
              </a:tr>
              <a:tr h="29942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HA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3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718626163"/>
                  </a:ext>
                </a:extLst>
              </a:tr>
              <a:tr h="29942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C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023884216"/>
                  </a:ext>
                </a:extLst>
              </a:tr>
              <a:tr h="29942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HC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901331205"/>
                  </a:ext>
                </a:extLst>
              </a:tr>
              <a:tr h="29942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K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89182480"/>
                  </a:ext>
                </a:extLst>
              </a:tr>
              <a:tr h="29942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VK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61071944"/>
                  </a:ext>
                </a:extLst>
              </a:tr>
              <a:tr h="29942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LK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397107956"/>
                  </a:ext>
                </a:extLst>
              </a:tr>
              <a:tr h="29942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BK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50750352"/>
                  </a:ext>
                </a:extLst>
              </a:tr>
              <a:tr h="390168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KK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699752620"/>
                  </a:ext>
                </a:extLst>
              </a:tr>
              <a:tr h="29942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K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125061497"/>
                  </a:ext>
                </a:extLst>
              </a:tr>
              <a:tr h="29942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YS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656524218"/>
                  </a:ext>
                </a:extLst>
              </a:tr>
              <a:tr h="29942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MK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927203803"/>
                  </a:ext>
                </a:extLst>
              </a:tr>
              <a:tr h="29942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K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532720954"/>
                  </a:ext>
                </a:extLst>
              </a:tr>
              <a:tr h="29942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K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806938670"/>
                  </a:ext>
                </a:extLst>
              </a:tr>
              <a:tr h="390168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SK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13666540"/>
                  </a:ext>
                </a:extLst>
              </a:tr>
              <a:tr h="29942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ý součet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7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48482282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5307838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F3DA7FDE-62BA-4179-BA4D-AB192F2667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2"/>
            <a:ext cx="7326652" cy="576000"/>
          </a:xfrm>
        </p:spPr>
        <p:txBody>
          <a:bodyPr/>
          <a:lstStyle/>
          <a:p>
            <a:r>
              <a:rPr lang="cs-CZ" dirty="0"/>
              <a:t>Klienti a pracovníci v sociálních službách vyžadující hospitalizaci z důvodu COVID-19</a:t>
            </a:r>
          </a:p>
        </p:txBody>
      </p:sp>
      <p:graphicFrame>
        <p:nvGraphicFramePr>
          <p:cNvPr id="32" name="Chart 31">
            <a:extLst>
              <a:ext uri="{FF2B5EF4-FFF2-40B4-BE49-F238E27FC236}">
                <a16:creationId xmlns:a16="http://schemas.microsoft.com/office/drawing/2014/main" id="{60173AA5-760E-4890-90E2-16710D92A897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50601289"/>
              </p:ext>
            </p:extLst>
          </p:nvPr>
        </p:nvGraphicFramePr>
        <p:xfrm>
          <a:off x="505507" y="1029671"/>
          <a:ext cx="11518821" cy="561223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CBDB047-9B6A-4800-8865-B2F14B9CE230}"/>
              </a:ext>
            </a:extLst>
          </p:cNvPr>
          <p:cNvSpPr txBox="1"/>
          <p:nvPr/>
        </p:nvSpPr>
        <p:spPr>
          <a:xfrm rot="16200000">
            <a:off x="-1182697" y="3135089"/>
            <a:ext cx="307007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enní počet nových případů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98FB1B2-5954-4917-86E8-05CAC9208F90}"/>
              </a:ext>
            </a:extLst>
          </p:cNvPr>
          <p:cNvSpPr txBox="1"/>
          <p:nvPr/>
        </p:nvSpPr>
        <p:spPr>
          <a:xfrm>
            <a:off x="0" y="597841"/>
            <a:ext cx="344677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 dat: ISIN a ISIN – modul sociálních služeb</a:t>
            </a:r>
          </a:p>
        </p:txBody>
      </p:sp>
      <p:cxnSp>
        <p:nvCxnSpPr>
          <p:cNvPr id="8" name="Straight Connector 4">
            <a:extLst>
              <a:ext uri="{FF2B5EF4-FFF2-40B4-BE49-F238E27FC236}">
                <a16:creationId xmlns:a16="http://schemas.microsoft.com/office/drawing/2014/main" id="{6699F624-D5B2-4011-B4A6-2BC995418F25}"/>
              </a:ext>
            </a:extLst>
          </p:cNvPr>
          <p:cNvCxnSpPr/>
          <p:nvPr/>
        </p:nvCxnSpPr>
        <p:spPr>
          <a:xfrm>
            <a:off x="8554802" y="1295549"/>
            <a:ext cx="360000" cy="0"/>
          </a:xfrm>
          <a:prstGeom prst="line">
            <a:avLst/>
          </a:prstGeom>
          <a:ln w="19050">
            <a:solidFill>
              <a:srgbClr val="00206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5">
            <a:extLst>
              <a:ext uri="{FF2B5EF4-FFF2-40B4-BE49-F238E27FC236}">
                <a16:creationId xmlns:a16="http://schemas.microsoft.com/office/drawing/2014/main" id="{94511879-45E4-4E33-970C-77CDADFB8F6C}"/>
              </a:ext>
            </a:extLst>
          </p:cNvPr>
          <p:cNvSpPr txBox="1"/>
          <p:nvPr/>
        </p:nvSpPr>
        <p:spPr>
          <a:xfrm>
            <a:off x="8917060" y="1126275"/>
            <a:ext cx="228299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7 denní klouzavý průměr</a:t>
            </a:r>
          </a:p>
        </p:txBody>
      </p:sp>
    </p:spTree>
    <p:extLst>
      <p:ext uri="{BB962C8B-B14F-4D97-AF65-F5344CB8AC3E}">
        <p14:creationId xmlns:p14="http://schemas.microsoft.com/office/powerpoint/2010/main" val="722973860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F3DA7FDE-62BA-4179-BA4D-AB192F2667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2"/>
            <a:ext cx="7326652" cy="576000"/>
          </a:xfrm>
        </p:spPr>
        <p:txBody>
          <a:bodyPr/>
          <a:lstStyle/>
          <a:p>
            <a:r>
              <a:rPr lang="cs-CZ" dirty="0"/>
              <a:t>Klienti a pracovníci v sociálních službách s těžkým průběhem nemoci</a:t>
            </a:r>
          </a:p>
        </p:txBody>
      </p:sp>
      <p:graphicFrame>
        <p:nvGraphicFramePr>
          <p:cNvPr id="32" name="Chart 31">
            <a:extLst>
              <a:ext uri="{FF2B5EF4-FFF2-40B4-BE49-F238E27FC236}">
                <a16:creationId xmlns:a16="http://schemas.microsoft.com/office/drawing/2014/main" id="{60173AA5-760E-4890-90E2-16710D92A897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32065420"/>
              </p:ext>
            </p:extLst>
          </p:nvPr>
        </p:nvGraphicFramePr>
        <p:xfrm>
          <a:off x="352338" y="934057"/>
          <a:ext cx="11486736" cy="561223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CBDB047-9B6A-4800-8865-B2F14B9CE230}"/>
              </a:ext>
            </a:extLst>
          </p:cNvPr>
          <p:cNvSpPr txBox="1"/>
          <p:nvPr/>
        </p:nvSpPr>
        <p:spPr>
          <a:xfrm rot="16200000">
            <a:off x="-1182697" y="3135089"/>
            <a:ext cx="307007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enní počet nových případů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98FB1B2-5954-4917-86E8-05CAC9208F90}"/>
              </a:ext>
            </a:extLst>
          </p:cNvPr>
          <p:cNvSpPr txBox="1"/>
          <p:nvPr/>
        </p:nvSpPr>
        <p:spPr>
          <a:xfrm>
            <a:off x="0" y="597841"/>
            <a:ext cx="344677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 dat: ISIN a ISIN – modul sociálních služeb</a:t>
            </a:r>
          </a:p>
        </p:txBody>
      </p:sp>
      <p:cxnSp>
        <p:nvCxnSpPr>
          <p:cNvPr id="8" name="Straight Connector 4">
            <a:extLst>
              <a:ext uri="{FF2B5EF4-FFF2-40B4-BE49-F238E27FC236}">
                <a16:creationId xmlns:a16="http://schemas.microsoft.com/office/drawing/2014/main" id="{BC4FF1E4-8D78-4119-AE73-5ECF233E5080}"/>
              </a:ext>
            </a:extLst>
          </p:cNvPr>
          <p:cNvCxnSpPr/>
          <p:nvPr/>
        </p:nvCxnSpPr>
        <p:spPr>
          <a:xfrm>
            <a:off x="8554802" y="1295549"/>
            <a:ext cx="360000" cy="0"/>
          </a:xfrm>
          <a:prstGeom prst="line">
            <a:avLst/>
          </a:prstGeom>
          <a:ln w="19050">
            <a:solidFill>
              <a:srgbClr val="00206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5">
            <a:extLst>
              <a:ext uri="{FF2B5EF4-FFF2-40B4-BE49-F238E27FC236}">
                <a16:creationId xmlns:a16="http://schemas.microsoft.com/office/drawing/2014/main" id="{36715F8D-6236-491C-8E3C-B3955460BFC3}"/>
              </a:ext>
            </a:extLst>
          </p:cNvPr>
          <p:cNvSpPr txBox="1"/>
          <p:nvPr/>
        </p:nvSpPr>
        <p:spPr>
          <a:xfrm>
            <a:off x="8917060" y="1126275"/>
            <a:ext cx="228299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7 denní klouzavý průměr</a:t>
            </a:r>
          </a:p>
        </p:txBody>
      </p:sp>
    </p:spTree>
    <p:extLst>
      <p:ext uri="{BB962C8B-B14F-4D97-AF65-F5344CB8AC3E}">
        <p14:creationId xmlns:p14="http://schemas.microsoft.com/office/powerpoint/2010/main" val="2020240571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Nadpis 3">
            <a:extLst>
              <a:ext uri="{FF2B5EF4-FFF2-40B4-BE49-F238E27FC236}">
                <a16:creationId xmlns:a16="http://schemas.microsoft.com/office/drawing/2014/main" id="{967A564D-817A-482D-8BCC-FCE2C62830D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49479" y="2503487"/>
            <a:ext cx="10630969" cy="1189622"/>
          </a:xfrm>
        </p:spPr>
        <p:txBody>
          <a:bodyPr/>
          <a:lstStyle/>
          <a:p>
            <a:r>
              <a:rPr lang="cs-CZ" dirty="0"/>
              <a:t>Datová a informační základna </a:t>
            </a:r>
            <a:br>
              <a:rPr lang="cs-CZ" dirty="0"/>
            </a:br>
            <a:r>
              <a:rPr lang="cs-CZ" dirty="0"/>
              <a:t>pro management pandemie COVID-19</a:t>
            </a:r>
          </a:p>
        </p:txBody>
      </p:sp>
      <p:sp>
        <p:nvSpPr>
          <p:cNvPr id="5" name="Podnadpis 4">
            <a:extLst>
              <a:ext uri="{FF2B5EF4-FFF2-40B4-BE49-F238E27FC236}">
                <a16:creationId xmlns:a16="http://schemas.microsoft.com/office/drawing/2014/main" id="{ECB71022-B988-48D8-A571-213CB90D2BB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27703" y="4066289"/>
            <a:ext cx="9869424" cy="1564690"/>
          </a:xfrm>
        </p:spPr>
        <p:txBody>
          <a:bodyPr>
            <a:noAutofit/>
          </a:bodyPr>
          <a:lstStyle/>
          <a:p>
            <a:r>
              <a:rPr lang="cs-CZ" sz="4000" b="1" dirty="0">
                <a:solidFill>
                  <a:schemeClr val="tx1"/>
                </a:solidFill>
              </a:rPr>
              <a:t>Příloha: retrospektivní přehled hlášení KHS po měsících</a:t>
            </a:r>
          </a:p>
        </p:txBody>
      </p:sp>
    </p:spTree>
    <p:extLst>
      <p:ext uri="{BB962C8B-B14F-4D97-AF65-F5344CB8AC3E}">
        <p14:creationId xmlns:p14="http://schemas.microsoft.com/office/powerpoint/2010/main" val="2472286480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abulka 6">
            <a:extLst>
              <a:ext uri="{FF2B5EF4-FFF2-40B4-BE49-F238E27FC236}">
                <a16:creationId xmlns:a16="http://schemas.microsoft.com/office/drawing/2014/main" id="{E407BC21-98D2-4484-9EC1-D74879DC1DFE}"/>
              </a:ext>
            </a:extLst>
          </p:cNvPr>
          <p:cNvGraphicFramePr>
            <a:graphicFrameLocks noGrp="1"/>
          </p:cNvGraphicFramePr>
          <p:nvPr/>
        </p:nvGraphicFramePr>
        <p:xfrm>
          <a:off x="7357698" y="5556199"/>
          <a:ext cx="4559770" cy="860988"/>
        </p:xfrm>
        <a:graphic>
          <a:graphicData uri="http://schemas.openxmlformats.org/drawingml/2006/table">
            <a:tbl>
              <a:tblPr/>
              <a:tblGrid>
                <a:gridCol w="911954">
                  <a:extLst>
                    <a:ext uri="{9D8B030D-6E8A-4147-A177-3AD203B41FA5}">
                      <a16:colId xmlns:a16="http://schemas.microsoft.com/office/drawing/2014/main" val="3781823447"/>
                    </a:ext>
                  </a:extLst>
                </a:gridCol>
                <a:gridCol w="911954">
                  <a:extLst>
                    <a:ext uri="{9D8B030D-6E8A-4147-A177-3AD203B41FA5}">
                      <a16:colId xmlns:a16="http://schemas.microsoft.com/office/drawing/2014/main" val="3939987608"/>
                    </a:ext>
                  </a:extLst>
                </a:gridCol>
                <a:gridCol w="911954">
                  <a:extLst>
                    <a:ext uri="{9D8B030D-6E8A-4147-A177-3AD203B41FA5}">
                      <a16:colId xmlns:a16="http://schemas.microsoft.com/office/drawing/2014/main" val="2504438164"/>
                    </a:ext>
                  </a:extLst>
                </a:gridCol>
                <a:gridCol w="911954">
                  <a:extLst>
                    <a:ext uri="{9D8B030D-6E8A-4147-A177-3AD203B41FA5}">
                      <a16:colId xmlns:a16="http://schemas.microsoft.com/office/drawing/2014/main" val="1301809795"/>
                    </a:ext>
                  </a:extLst>
                </a:gridCol>
                <a:gridCol w="911954">
                  <a:extLst>
                    <a:ext uri="{9D8B030D-6E8A-4147-A177-3AD203B41FA5}">
                      <a16:colId xmlns:a16="http://schemas.microsoft.com/office/drawing/2014/main" val="782449002"/>
                    </a:ext>
                  </a:extLst>
                </a:gridCol>
              </a:tblGrid>
              <a:tr h="43049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50873528"/>
                  </a:ext>
                </a:extLst>
              </a:tr>
              <a:tr h="43049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DE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96716779"/>
                  </a:ext>
                </a:extLst>
              </a:tr>
            </a:tbl>
          </a:graphicData>
        </a:graphic>
      </p:graphicFrame>
      <p:sp>
        <p:nvSpPr>
          <p:cNvPr id="13" name="TextovéPole 9">
            <a:extLst>
              <a:ext uri="{FF2B5EF4-FFF2-40B4-BE49-F238E27FC236}">
                <a16:creationId xmlns:a16="http://schemas.microsoft.com/office/drawing/2014/main" id="{6A22C561-33A4-44DE-8060-C4F3B9EB1921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4.–</a:t>
                      </a:r>
                      <a:b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5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5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5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5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5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5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5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5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5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5/2020 </a:t>
            </a:r>
          </a:p>
        </p:txBody>
      </p:sp>
    </p:spTree>
    <p:extLst>
      <p:ext uri="{BB962C8B-B14F-4D97-AF65-F5344CB8AC3E}">
        <p14:creationId xmlns:p14="http://schemas.microsoft.com/office/powerpoint/2010/main" val="558350277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C83B49AA-8160-4750-A999-FE1211C7E208}"/>
              </a:ext>
            </a:extLst>
          </p:cNvPr>
          <p:cNvGraphicFramePr>
            <a:graphicFrameLocks noGrp="1"/>
          </p:cNvGraphicFramePr>
          <p:nvPr/>
        </p:nvGraphicFramePr>
        <p:xfrm>
          <a:off x="7366472" y="5556199"/>
          <a:ext cx="4550995" cy="860988"/>
        </p:xfrm>
        <a:graphic>
          <a:graphicData uri="http://schemas.openxmlformats.org/drawingml/2006/table">
            <a:tbl>
              <a:tblPr/>
              <a:tblGrid>
                <a:gridCol w="910199">
                  <a:extLst>
                    <a:ext uri="{9D8B030D-6E8A-4147-A177-3AD203B41FA5}">
                      <a16:colId xmlns:a16="http://schemas.microsoft.com/office/drawing/2014/main" val="145596155"/>
                    </a:ext>
                  </a:extLst>
                </a:gridCol>
                <a:gridCol w="910199">
                  <a:extLst>
                    <a:ext uri="{9D8B030D-6E8A-4147-A177-3AD203B41FA5}">
                      <a16:colId xmlns:a16="http://schemas.microsoft.com/office/drawing/2014/main" val="1323571245"/>
                    </a:ext>
                  </a:extLst>
                </a:gridCol>
                <a:gridCol w="910199">
                  <a:extLst>
                    <a:ext uri="{9D8B030D-6E8A-4147-A177-3AD203B41FA5}">
                      <a16:colId xmlns:a16="http://schemas.microsoft.com/office/drawing/2014/main" val="2385094641"/>
                    </a:ext>
                  </a:extLst>
                </a:gridCol>
                <a:gridCol w="910199">
                  <a:extLst>
                    <a:ext uri="{9D8B030D-6E8A-4147-A177-3AD203B41FA5}">
                      <a16:colId xmlns:a16="http://schemas.microsoft.com/office/drawing/2014/main" val="740278421"/>
                    </a:ext>
                  </a:extLst>
                </a:gridCol>
                <a:gridCol w="910199">
                  <a:extLst>
                    <a:ext uri="{9D8B030D-6E8A-4147-A177-3AD203B41FA5}">
                      <a16:colId xmlns:a16="http://schemas.microsoft.com/office/drawing/2014/main" val="2618420229"/>
                    </a:ext>
                  </a:extLst>
                </a:gridCol>
              </a:tblGrid>
              <a:tr h="43049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2453447"/>
                  </a:ext>
                </a:extLst>
              </a:tr>
              <a:tr h="43049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4C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4B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BF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BF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74800920"/>
                  </a:ext>
                </a:extLst>
              </a:tr>
            </a:tbl>
          </a:graphicData>
        </a:graphic>
      </p:graphicFrame>
      <p:sp>
        <p:nvSpPr>
          <p:cNvPr id="13" name="TextovéPole 9">
            <a:extLst>
              <a:ext uri="{FF2B5EF4-FFF2-40B4-BE49-F238E27FC236}">
                <a16:creationId xmlns:a16="http://schemas.microsoft.com/office/drawing/2014/main" id="{6A22C561-33A4-44DE-8060-C4F3B9EB1921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6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.6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.6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6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6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6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6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6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6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7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6/2020 </a:t>
            </a:r>
          </a:p>
        </p:txBody>
      </p:sp>
    </p:spTree>
    <p:extLst>
      <p:ext uri="{BB962C8B-B14F-4D97-AF65-F5344CB8AC3E}">
        <p14:creationId xmlns:p14="http://schemas.microsoft.com/office/powerpoint/2010/main" val="2907037291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F88B3E13-B2CE-4977-A51D-63EE09726F48}"/>
              </a:ext>
            </a:extLst>
          </p:cNvPr>
          <p:cNvGraphicFramePr>
            <a:graphicFrameLocks noGrp="1"/>
          </p:cNvGraphicFramePr>
          <p:nvPr/>
        </p:nvGraphicFramePr>
        <p:xfrm>
          <a:off x="7357928" y="5556199"/>
          <a:ext cx="4559540" cy="853440"/>
        </p:xfrm>
        <a:graphic>
          <a:graphicData uri="http://schemas.openxmlformats.org/drawingml/2006/table">
            <a:tbl>
              <a:tblPr/>
              <a:tblGrid>
                <a:gridCol w="911908">
                  <a:extLst>
                    <a:ext uri="{9D8B030D-6E8A-4147-A177-3AD203B41FA5}">
                      <a16:colId xmlns:a16="http://schemas.microsoft.com/office/drawing/2014/main" val="3075813479"/>
                    </a:ext>
                  </a:extLst>
                </a:gridCol>
                <a:gridCol w="911908">
                  <a:extLst>
                    <a:ext uri="{9D8B030D-6E8A-4147-A177-3AD203B41FA5}">
                      <a16:colId xmlns:a16="http://schemas.microsoft.com/office/drawing/2014/main" val="3663620388"/>
                    </a:ext>
                  </a:extLst>
                </a:gridCol>
                <a:gridCol w="911908">
                  <a:extLst>
                    <a:ext uri="{9D8B030D-6E8A-4147-A177-3AD203B41FA5}">
                      <a16:colId xmlns:a16="http://schemas.microsoft.com/office/drawing/2014/main" val="1150320877"/>
                    </a:ext>
                  </a:extLst>
                </a:gridCol>
                <a:gridCol w="911908">
                  <a:extLst>
                    <a:ext uri="{9D8B030D-6E8A-4147-A177-3AD203B41FA5}">
                      <a16:colId xmlns:a16="http://schemas.microsoft.com/office/drawing/2014/main" val="3545488870"/>
                    </a:ext>
                  </a:extLst>
                </a:gridCol>
                <a:gridCol w="911908">
                  <a:extLst>
                    <a:ext uri="{9D8B030D-6E8A-4147-A177-3AD203B41FA5}">
                      <a16:colId xmlns:a16="http://schemas.microsoft.com/office/drawing/2014/main" val="4009965493"/>
                    </a:ext>
                  </a:extLst>
                </a:gridCol>
              </a:tblGrid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5005668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BF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4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51454895"/>
                  </a:ext>
                </a:extLst>
              </a:tr>
            </a:tbl>
          </a:graphicData>
        </a:graphic>
      </p:graphicFrame>
      <p:sp>
        <p:nvSpPr>
          <p:cNvPr id="13" name="TextovéPole 9">
            <a:extLst>
              <a:ext uri="{FF2B5EF4-FFF2-40B4-BE49-F238E27FC236}">
                <a16:creationId xmlns:a16="http://schemas.microsoft.com/office/drawing/2014/main" id="{6A22C561-33A4-44DE-8060-C4F3B9EB1921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6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7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7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7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7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7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7.–</a:t>
                      </a:r>
                      <a:b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7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7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8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0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7/2020 </a:t>
            </a:r>
          </a:p>
        </p:txBody>
      </p:sp>
    </p:spTree>
    <p:extLst>
      <p:ext uri="{BB962C8B-B14F-4D97-AF65-F5344CB8AC3E}">
        <p14:creationId xmlns:p14="http://schemas.microsoft.com/office/powerpoint/2010/main" val="260596030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ovéPole 5"/>
          <p:cNvSpPr txBox="1"/>
          <p:nvPr/>
        </p:nvSpPr>
        <p:spPr>
          <a:xfrm>
            <a:off x="266699" y="934450"/>
            <a:ext cx="11327021" cy="48936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kumimoji="0" lang="cs-CZ" sz="24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</a:rPr>
              <a:t>Dle hlášení KHS došlo v říjnu a zejména v listopadu 2021 k mírnému nárůstu počtu nákaz (a ohnisek) v sociálních zařízeních. Šlo ale o počty, které byly velmi významně nižší ve srovnání např. s jarem 2021. KHS identifikovaly za říjen 15 ohnisek v sociálních zařízeních (celkem 181 nakažených osob) a za listopad 38 ohnisek s celkem 663 dosud zařazenými nakaženými osobami. Za prosinec 2021 bylo z</a:t>
            </a:r>
            <a:r>
              <a:rPr kumimoji="0" lang="cs-CZ" sz="2400" i="0" u="none" strike="noStrike" kern="1200" cap="none" spc="0" normalizeH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</a:rPr>
              <a:t>e strany KHS identifikováno a nahlášeno 42 událostí v sociálních službách s celkem 589 nakaženými osobami. </a:t>
            </a:r>
          </a:p>
          <a:p>
            <a:pPr algn="ctr">
              <a:defRPr/>
            </a:pPr>
            <a:endParaRPr kumimoji="0" lang="cs-CZ" sz="2400" b="1" i="0" u="none" strike="noStrike" kern="1200" cap="none" spc="0" normalizeH="0" noProof="0" dirty="0">
              <a:ln>
                <a:noFill/>
              </a:ln>
              <a:effectLst/>
              <a:uLnTx/>
              <a:uFillTx/>
              <a:latin typeface="Calibri" panose="020F0502020204030204"/>
            </a:endParaRPr>
          </a:p>
          <a:p>
            <a:pPr algn="ctr">
              <a:defRPr/>
            </a:pPr>
            <a:r>
              <a:rPr kumimoji="0" lang="cs-CZ" sz="2400" b="1" i="0" u="none" strike="noStrike" kern="1200" cap="none" spc="0" normalizeH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</a:rPr>
              <a:t>Za leden 2022 je dosud hlášeno pouze 6 událostí se 64 nakaženými (stav k 15. 1.) </a:t>
            </a:r>
          </a:p>
          <a:p>
            <a:pPr algn="ctr">
              <a:defRPr/>
            </a:pPr>
            <a:endParaRPr lang="cs-CZ" sz="2400" b="1" dirty="0">
              <a:solidFill>
                <a:srgbClr val="C00000"/>
              </a:solidFill>
              <a:latin typeface="Calibri" panose="020F0502020204030204"/>
            </a:endParaRPr>
          </a:p>
          <a:p>
            <a:pPr algn="ctr">
              <a:defRPr/>
            </a:pPr>
            <a:r>
              <a:rPr kumimoji="0" lang="cs-CZ" sz="2400" b="1" i="0" u="none" strike="noStrike" kern="1200" cap="none" spc="0" normalizeH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</a:rPr>
              <a:t>Ve srovnání s počátkem roku 2021 jde stále o velmi nízké počty a při dělení na kraje pouze o jednotkové výskyty nákazy. </a:t>
            </a:r>
            <a:r>
              <a:rPr lang="cs-CZ" sz="2400" b="1" dirty="0">
                <a:solidFill>
                  <a:srgbClr val="0000FF"/>
                </a:solidFill>
                <a:latin typeface="Calibri" panose="020F0502020204030204"/>
              </a:rPr>
              <a:t>Tato data ukazují, že situace v sociálních zařízeních je stále pod kontrolou, velký ochranný efekt hraje vakcinace a také samozřejmě počet klientů, kteří prodělali nákazu v uplynulém období. </a:t>
            </a:r>
            <a:endParaRPr lang="cs-CZ" sz="2400" dirty="0">
              <a:solidFill>
                <a:srgbClr val="0000FF"/>
              </a:solidFill>
              <a:latin typeface="Calibri" panose="020F0502020204030204"/>
            </a:endParaRPr>
          </a:p>
        </p:txBody>
      </p:sp>
      <p:sp>
        <p:nvSpPr>
          <p:cNvPr id="5" name="Šipka dolů 4"/>
          <p:cNvSpPr/>
          <p:nvPr/>
        </p:nvSpPr>
        <p:spPr>
          <a:xfrm>
            <a:off x="5223343" y="5994400"/>
            <a:ext cx="1319062" cy="672678"/>
          </a:xfrm>
          <a:prstGeom prst="downArrow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Podnadpis 4">
            <a:extLst>
              <a:ext uri="{FF2B5EF4-FFF2-40B4-BE49-F238E27FC236}">
                <a16:creationId xmlns:a16="http://schemas.microsoft.com/office/drawing/2014/main" id="{FD2CE6B4-35B6-4010-B3CB-EE34C0274624}"/>
              </a:ext>
            </a:extLst>
          </p:cNvPr>
          <p:cNvSpPr txBox="1">
            <a:spLocks/>
          </p:cNvSpPr>
          <p:nvPr/>
        </p:nvSpPr>
        <p:spPr>
          <a:xfrm>
            <a:off x="266699" y="118297"/>
            <a:ext cx="11658601" cy="60367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cs-CZ" sz="3400" b="1" dirty="0"/>
              <a:t>Výstupy šetření KHS: souhrn vývoje od podzimu 2021</a:t>
            </a:r>
          </a:p>
        </p:txBody>
      </p:sp>
    </p:spTree>
    <p:extLst>
      <p:ext uri="{BB962C8B-B14F-4D97-AF65-F5344CB8AC3E}">
        <p14:creationId xmlns:p14="http://schemas.microsoft.com/office/powerpoint/2010/main" val="1163798301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E4A733E4-6C6F-4673-8EB3-43E9F53AA9A4}"/>
              </a:ext>
            </a:extLst>
          </p:cNvPr>
          <p:cNvGraphicFramePr>
            <a:graphicFrameLocks noGrp="1"/>
          </p:cNvGraphicFramePr>
          <p:nvPr/>
        </p:nvGraphicFramePr>
        <p:xfrm>
          <a:off x="7349384" y="5543019"/>
          <a:ext cx="4568082" cy="874168"/>
        </p:xfrm>
        <a:graphic>
          <a:graphicData uri="http://schemas.openxmlformats.org/drawingml/2006/table">
            <a:tbl>
              <a:tblPr/>
              <a:tblGrid>
                <a:gridCol w="761347">
                  <a:extLst>
                    <a:ext uri="{9D8B030D-6E8A-4147-A177-3AD203B41FA5}">
                      <a16:colId xmlns:a16="http://schemas.microsoft.com/office/drawing/2014/main" val="532681158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858746802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377087480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2392886017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2010144985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3111499919"/>
                    </a:ext>
                  </a:extLst>
                </a:gridCol>
              </a:tblGrid>
              <a:tr h="43708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69400213"/>
                  </a:ext>
                </a:extLst>
              </a:tr>
              <a:tr h="43708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FD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1F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6E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,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BD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37293707"/>
                  </a:ext>
                </a:extLst>
              </a:tr>
            </a:tbl>
          </a:graphicData>
        </a:graphic>
      </p:graphicFrame>
      <p:sp>
        <p:nvSpPr>
          <p:cNvPr id="13" name="TextovéPole 9">
            <a:extLst>
              <a:ext uri="{FF2B5EF4-FFF2-40B4-BE49-F238E27FC236}">
                <a16:creationId xmlns:a16="http://schemas.microsoft.com/office/drawing/2014/main" id="{6A22C561-33A4-44DE-8060-C4F3B9EB1921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151777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3650229900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7.–2.8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8.–9.8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8.–16.8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8.–23.8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8.–30.8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8.–6.9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1 (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8/2020 </a:t>
            </a:r>
          </a:p>
        </p:txBody>
      </p:sp>
    </p:spTree>
    <p:extLst>
      <p:ext uri="{BB962C8B-B14F-4D97-AF65-F5344CB8AC3E}">
        <p14:creationId xmlns:p14="http://schemas.microsoft.com/office/powerpoint/2010/main" val="2618553367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ovéPole 9">
            <a:extLst>
              <a:ext uri="{FF2B5EF4-FFF2-40B4-BE49-F238E27FC236}">
                <a16:creationId xmlns:a16="http://schemas.microsoft.com/office/drawing/2014/main" id="{6A22C561-33A4-44DE-8060-C4F3B9EB1921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8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9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.9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9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9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9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9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9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9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10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8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6 (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8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 (1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7 (1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0 (1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9/2020 </a:t>
            </a:r>
          </a:p>
        </p:txBody>
      </p:sp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6716FADC-95C9-4EF9-8F0F-16C13097F4FC}"/>
              </a:ext>
            </a:extLst>
          </p:cNvPr>
          <p:cNvGraphicFramePr>
            <a:graphicFrameLocks noGrp="1"/>
          </p:cNvGraphicFramePr>
          <p:nvPr/>
        </p:nvGraphicFramePr>
        <p:xfrm>
          <a:off x="7357928" y="5556199"/>
          <a:ext cx="4559540" cy="853440"/>
        </p:xfrm>
        <a:graphic>
          <a:graphicData uri="http://schemas.openxmlformats.org/drawingml/2006/table">
            <a:tbl>
              <a:tblPr/>
              <a:tblGrid>
                <a:gridCol w="911908">
                  <a:extLst>
                    <a:ext uri="{9D8B030D-6E8A-4147-A177-3AD203B41FA5}">
                      <a16:colId xmlns:a16="http://schemas.microsoft.com/office/drawing/2014/main" val="4036163115"/>
                    </a:ext>
                  </a:extLst>
                </a:gridCol>
                <a:gridCol w="911908">
                  <a:extLst>
                    <a:ext uri="{9D8B030D-6E8A-4147-A177-3AD203B41FA5}">
                      <a16:colId xmlns:a16="http://schemas.microsoft.com/office/drawing/2014/main" val="736450889"/>
                    </a:ext>
                  </a:extLst>
                </a:gridCol>
                <a:gridCol w="911908">
                  <a:extLst>
                    <a:ext uri="{9D8B030D-6E8A-4147-A177-3AD203B41FA5}">
                      <a16:colId xmlns:a16="http://schemas.microsoft.com/office/drawing/2014/main" val="1279023539"/>
                    </a:ext>
                  </a:extLst>
                </a:gridCol>
                <a:gridCol w="911908">
                  <a:extLst>
                    <a:ext uri="{9D8B030D-6E8A-4147-A177-3AD203B41FA5}">
                      <a16:colId xmlns:a16="http://schemas.microsoft.com/office/drawing/2014/main" val="3734581894"/>
                    </a:ext>
                  </a:extLst>
                </a:gridCol>
                <a:gridCol w="911908">
                  <a:extLst>
                    <a:ext uri="{9D8B030D-6E8A-4147-A177-3AD203B41FA5}">
                      <a16:colId xmlns:a16="http://schemas.microsoft.com/office/drawing/2014/main" val="2485002274"/>
                    </a:ext>
                  </a:extLst>
                </a:gridCol>
              </a:tblGrid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63500148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AD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EE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F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8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9D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209606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10862643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E048D0C3-4A1B-4F04-8420-3640670E172C}"/>
              </a:ext>
            </a:extLst>
          </p:cNvPr>
          <p:cNvGraphicFramePr>
            <a:graphicFrameLocks noGrp="1"/>
          </p:cNvGraphicFramePr>
          <p:nvPr/>
        </p:nvGraphicFramePr>
        <p:xfrm>
          <a:off x="7353300" y="5556197"/>
          <a:ext cx="4564170" cy="853442"/>
        </p:xfrm>
        <a:graphic>
          <a:graphicData uri="http://schemas.openxmlformats.org/drawingml/2006/table">
            <a:tbl>
              <a:tblPr/>
              <a:tblGrid>
                <a:gridCol w="912834">
                  <a:extLst>
                    <a:ext uri="{9D8B030D-6E8A-4147-A177-3AD203B41FA5}">
                      <a16:colId xmlns:a16="http://schemas.microsoft.com/office/drawing/2014/main" val="2722287554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2308730511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49226697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2086273000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2805520120"/>
                    </a:ext>
                  </a:extLst>
                </a:gridCol>
              </a:tblGrid>
              <a:tr h="42672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199578"/>
                  </a:ext>
                </a:extLst>
              </a:tr>
              <a:tr h="42672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9D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E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,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1A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4B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8A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6539175"/>
                  </a:ext>
                </a:extLst>
              </a:tr>
            </a:tbl>
          </a:graphicData>
        </a:graphic>
      </p:graphicFrame>
      <p:sp>
        <p:nvSpPr>
          <p:cNvPr id="13" name="TextovéPole 9">
            <a:extLst>
              <a:ext uri="{FF2B5EF4-FFF2-40B4-BE49-F238E27FC236}">
                <a16:creationId xmlns:a16="http://schemas.microsoft.com/office/drawing/2014/main" id="{6A22C561-33A4-44DE-8060-C4F3B9EB1921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9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10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10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10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10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10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10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10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10.–</a:t>
                      </a:r>
                      <a:b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1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5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0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8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5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7 (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9 (1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5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2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3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5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8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6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5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6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9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7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3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1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6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6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6 (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5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4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2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8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9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1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9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4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3 (1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0 (1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25 (3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58 (5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10 (5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02 (5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10/2020 </a:t>
            </a:r>
          </a:p>
        </p:txBody>
      </p:sp>
    </p:spTree>
    <p:extLst>
      <p:ext uri="{BB962C8B-B14F-4D97-AF65-F5344CB8AC3E}">
        <p14:creationId xmlns:p14="http://schemas.microsoft.com/office/powerpoint/2010/main" val="1717089603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abulka 10">
            <a:extLst>
              <a:ext uri="{FF2B5EF4-FFF2-40B4-BE49-F238E27FC236}">
                <a16:creationId xmlns:a16="http://schemas.microsoft.com/office/drawing/2014/main" id="{7F0AA7A5-EFAC-4CD9-9800-84DEB34D6674}"/>
              </a:ext>
            </a:extLst>
          </p:cNvPr>
          <p:cNvGraphicFramePr>
            <a:graphicFrameLocks noGrp="1"/>
          </p:cNvGraphicFramePr>
          <p:nvPr/>
        </p:nvGraphicFramePr>
        <p:xfrm>
          <a:off x="7358909" y="5543019"/>
          <a:ext cx="4558560" cy="874166"/>
        </p:xfrm>
        <a:graphic>
          <a:graphicData uri="http://schemas.openxmlformats.org/drawingml/2006/table">
            <a:tbl>
              <a:tblPr/>
              <a:tblGrid>
                <a:gridCol w="759760">
                  <a:extLst>
                    <a:ext uri="{9D8B030D-6E8A-4147-A177-3AD203B41FA5}">
                      <a16:colId xmlns:a16="http://schemas.microsoft.com/office/drawing/2014/main" val="431450114"/>
                    </a:ext>
                  </a:extLst>
                </a:gridCol>
                <a:gridCol w="759760">
                  <a:extLst>
                    <a:ext uri="{9D8B030D-6E8A-4147-A177-3AD203B41FA5}">
                      <a16:colId xmlns:a16="http://schemas.microsoft.com/office/drawing/2014/main" val="1293986261"/>
                    </a:ext>
                  </a:extLst>
                </a:gridCol>
                <a:gridCol w="759760">
                  <a:extLst>
                    <a:ext uri="{9D8B030D-6E8A-4147-A177-3AD203B41FA5}">
                      <a16:colId xmlns:a16="http://schemas.microsoft.com/office/drawing/2014/main" val="870908832"/>
                    </a:ext>
                  </a:extLst>
                </a:gridCol>
                <a:gridCol w="759760">
                  <a:extLst>
                    <a:ext uri="{9D8B030D-6E8A-4147-A177-3AD203B41FA5}">
                      <a16:colId xmlns:a16="http://schemas.microsoft.com/office/drawing/2014/main" val="3418553957"/>
                    </a:ext>
                  </a:extLst>
                </a:gridCol>
                <a:gridCol w="759760">
                  <a:extLst>
                    <a:ext uri="{9D8B030D-6E8A-4147-A177-3AD203B41FA5}">
                      <a16:colId xmlns:a16="http://schemas.microsoft.com/office/drawing/2014/main" val="3813615049"/>
                    </a:ext>
                  </a:extLst>
                </a:gridCol>
                <a:gridCol w="759760">
                  <a:extLst>
                    <a:ext uri="{9D8B030D-6E8A-4147-A177-3AD203B41FA5}">
                      <a16:colId xmlns:a16="http://schemas.microsoft.com/office/drawing/2014/main" val="19506064"/>
                    </a:ext>
                  </a:extLst>
                </a:gridCol>
              </a:tblGrid>
              <a:tr h="43708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82213456"/>
                  </a:ext>
                </a:extLst>
              </a:tr>
              <a:tr h="43708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DB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,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5C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,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6B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EC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3C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B0B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287621"/>
                  </a:ext>
                </a:extLst>
              </a:tr>
            </a:tbl>
          </a:graphicData>
        </a:graphic>
      </p:graphicFrame>
      <p:sp>
        <p:nvSpPr>
          <p:cNvPr id="13" name="TextovéPole 9">
            <a:extLst>
              <a:ext uri="{FF2B5EF4-FFF2-40B4-BE49-F238E27FC236}">
                <a16:creationId xmlns:a16="http://schemas.microsoft.com/office/drawing/2014/main" id="{6A22C561-33A4-44DE-8060-C4F3B9EB1921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151777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3650229900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10.–</a:t>
                      </a:r>
                      <a:b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1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1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.1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.1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1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1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1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1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1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1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1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8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9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6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5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3 (1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82 (1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4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1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5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3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9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7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6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8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8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6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2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9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3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4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2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2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9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7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5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5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8 (1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2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9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3 (1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3 (1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3 (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8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02 (5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09 (6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34 (6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17 (5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8 (2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2 (1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11/2020 </a:t>
            </a:r>
          </a:p>
        </p:txBody>
      </p:sp>
    </p:spTree>
    <p:extLst>
      <p:ext uri="{BB962C8B-B14F-4D97-AF65-F5344CB8AC3E}">
        <p14:creationId xmlns:p14="http://schemas.microsoft.com/office/powerpoint/2010/main" val="2118941500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82761B6C-BAB4-4CB7-9972-A9ACAC518D35}"/>
              </a:ext>
            </a:extLst>
          </p:cNvPr>
          <p:cNvGraphicFramePr>
            <a:graphicFrameLocks noGrp="1"/>
          </p:cNvGraphicFramePr>
          <p:nvPr/>
        </p:nvGraphicFramePr>
        <p:xfrm>
          <a:off x="7362824" y="5543020"/>
          <a:ext cx="4554645" cy="853440"/>
        </p:xfrm>
        <a:graphic>
          <a:graphicData uri="http://schemas.openxmlformats.org/drawingml/2006/table">
            <a:tbl>
              <a:tblPr/>
              <a:tblGrid>
                <a:gridCol w="910929">
                  <a:extLst>
                    <a:ext uri="{9D8B030D-6E8A-4147-A177-3AD203B41FA5}">
                      <a16:colId xmlns:a16="http://schemas.microsoft.com/office/drawing/2014/main" val="2409156170"/>
                    </a:ext>
                  </a:extLst>
                </a:gridCol>
                <a:gridCol w="910929">
                  <a:extLst>
                    <a:ext uri="{9D8B030D-6E8A-4147-A177-3AD203B41FA5}">
                      <a16:colId xmlns:a16="http://schemas.microsoft.com/office/drawing/2014/main" val="2472712141"/>
                    </a:ext>
                  </a:extLst>
                </a:gridCol>
                <a:gridCol w="910929">
                  <a:extLst>
                    <a:ext uri="{9D8B030D-6E8A-4147-A177-3AD203B41FA5}">
                      <a16:colId xmlns:a16="http://schemas.microsoft.com/office/drawing/2014/main" val="2135892105"/>
                    </a:ext>
                  </a:extLst>
                </a:gridCol>
                <a:gridCol w="910929">
                  <a:extLst>
                    <a:ext uri="{9D8B030D-6E8A-4147-A177-3AD203B41FA5}">
                      <a16:colId xmlns:a16="http://schemas.microsoft.com/office/drawing/2014/main" val="561529290"/>
                    </a:ext>
                  </a:extLst>
                </a:gridCol>
                <a:gridCol w="910929">
                  <a:extLst>
                    <a:ext uri="{9D8B030D-6E8A-4147-A177-3AD203B41FA5}">
                      <a16:colId xmlns:a16="http://schemas.microsoft.com/office/drawing/2014/main" val="3875654203"/>
                    </a:ext>
                  </a:extLst>
                </a:gridCol>
              </a:tblGrid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74380407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EB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,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4B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1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9C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,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2C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09490204"/>
                  </a:ext>
                </a:extLst>
              </a:tr>
            </a:tbl>
          </a:graphicData>
        </a:graphic>
      </p:graphicFrame>
      <p:sp>
        <p:nvSpPr>
          <p:cNvPr id="13" name="TextovéPole 9">
            <a:extLst>
              <a:ext uri="{FF2B5EF4-FFF2-40B4-BE49-F238E27FC236}">
                <a16:creationId xmlns:a16="http://schemas.microsoft.com/office/drawing/2014/main" id="{6A22C561-33A4-44DE-8060-C4F3B9EB1921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1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1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.12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1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12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1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12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1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12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5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5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0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9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9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3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9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7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4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0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7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5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4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7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8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2 (1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44 (3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2 (2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2 (1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2 (2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12/2020</a:t>
            </a:r>
          </a:p>
        </p:txBody>
      </p:sp>
    </p:spTree>
    <p:extLst>
      <p:ext uri="{BB962C8B-B14F-4D97-AF65-F5344CB8AC3E}">
        <p14:creationId xmlns:p14="http://schemas.microsoft.com/office/powerpoint/2010/main" val="3943612207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27074580-7378-4DC7-905D-4C6D0765102E}"/>
              </a:ext>
            </a:extLst>
          </p:cNvPr>
          <p:cNvGraphicFramePr>
            <a:graphicFrameLocks noGrp="1"/>
          </p:cNvGraphicFramePr>
          <p:nvPr/>
        </p:nvGraphicFramePr>
        <p:xfrm>
          <a:off x="7353300" y="5556199"/>
          <a:ext cx="4564170" cy="853440"/>
        </p:xfrm>
        <a:graphic>
          <a:graphicData uri="http://schemas.openxmlformats.org/drawingml/2006/table">
            <a:tbl>
              <a:tblPr/>
              <a:tblGrid>
                <a:gridCol w="912834">
                  <a:extLst>
                    <a:ext uri="{9D8B030D-6E8A-4147-A177-3AD203B41FA5}">
                      <a16:colId xmlns:a16="http://schemas.microsoft.com/office/drawing/2014/main" val="2855304374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3611719903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2095470282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3545144661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1753944691"/>
                    </a:ext>
                  </a:extLst>
                </a:gridCol>
              </a:tblGrid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27967328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2C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,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ED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7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,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1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,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6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6095093"/>
                  </a:ext>
                </a:extLst>
              </a:tr>
            </a:tbl>
          </a:graphicData>
        </a:graphic>
      </p:graphicFrame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12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3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9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3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9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4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9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3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8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0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1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9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3 (2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69 (3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0 (2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5 (2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9 (1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1/2021</a:t>
            </a:r>
          </a:p>
        </p:txBody>
      </p:sp>
      <p:sp>
        <p:nvSpPr>
          <p:cNvPr id="20" name="TextovéPole 9">
            <a:extLst>
              <a:ext uri="{FF2B5EF4-FFF2-40B4-BE49-F238E27FC236}">
                <a16:creationId xmlns:a16="http://schemas.microsoft.com/office/drawing/2014/main" id="{7E384A36-F04C-4CFB-AE35-7DB6EC2667C7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49866909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DC8940F4-E367-4975-9E2F-DC4BD5527F99}"/>
              </a:ext>
            </a:extLst>
          </p:cNvPr>
          <p:cNvGraphicFramePr>
            <a:graphicFrameLocks noGrp="1"/>
          </p:cNvGraphicFramePr>
          <p:nvPr/>
        </p:nvGraphicFramePr>
        <p:xfrm>
          <a:off x="7355846" y="5556199"/>
          <a:ext cx="4561624" cy="853440"/>
        </p:xfrm>
        <a:graphic>
          <a:graphicData uri="http://schemas.openxmlformats.org/drawingml/2006/table">
            <a:tbl>
              <a:tblPr/>
              <a:tblGrid>
                <a:gridCol w="1140406">
                  <a:extLst>
                    <a:ext uri="{9D8B030D-6E8A-4147-A177-3AD203B41FA5}">
                      <a16:colId xmlns:a16="http://schemas.microsoft.com/office/drawing/2014/main" val="1626908255"/>
                    </a:ext>
                  </a:extLst>
                </a:gridCol>
                <a:gridCol w="1140406">
                  <a:extLst>
                    <a:ext uri="{9D8B030D-6E8A-4147-A177-3AD203B41FA5}">
                      <a16:colId xmlns:a16="http://schemas.microsoft.com/office/drawing/2014/main" val="993666441"/>
                    </a:ext>
                  </a:extLst>
                </a:gridCol>
                <a:gridCol w="1140406">
                  <a:extLst>
                    <a:ext uri="{9D8B030D-6E8A-4147-A177-3AD203B41FA5}">
                      <a16:colId xmlns:a16="http://schemas.microsoft.com/office/drawing/2014/main" val="582674586"/>
                    </a:ext>
                  </a:extLst>
                </a:gridCol>
                <a:gridCol w="1140406">
                  <a:extLst>
                    <a:ext uri="{9D8B030D-6E8A-4147-A177-3AD203B41FA5}">
                      <a16:colId xmlns:a16="http://schemas.microsoft.com/office/drawing/2014/main" val="1860281616"/>
                    </a:ext>
                  </a:extLst>
                </a:gridCol>
              </a:tblGrid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18709309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,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1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5C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AD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,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A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260493"/>
                  </a:ext>
                </a:extLst>
              </a:tr>
            </a:tbl>
          </a:graphicData>
        </a:graphic>
      </p:graphicFrame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241769" y="1111953"/>
          <a:ext cx="5595008" cy="5305234"/>
        </p:xfrm>
        <a:graphic>
          <a:graphicData uri="http://schemas.openxmlformats.org/drawingml/2006/table">
            <a:tbl>
              <a:tblPr/>
              <a:tblGrid>
                <a:gridCol w="1951652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910839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910839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910839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910839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2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.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.2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2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2.–</a:t>
                      </a:r>
                      <a:b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2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8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9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0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1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0 (2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0 (1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4 (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6 (1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2/2021</a:t>
            </a:r>
          </a:p>
        </p:txBody>
      </p:sp>
      <p:sp>
        <p:nvSpPr>
          <p:cNvPr id="13" name="TextovéPole 9">
            <a:extLst>
              <a:ext uri="{FF2B5EF4-FFF2-40B4-BE49-F238E27FC236}">
                <a16:creationId xmlns:a16="http://schemas.microsoft.com/office/drawing/2014/main" id="{BDF07863-E626-446B-8502-11E8F41822DD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69834969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CC356167-F022-472E-9A90-09B706895E01}"/>
              </a:ext>
            </a:extLst>
          </p:cNvPr>
          <p:cNvGraphicFramePr>
            <a:graphicFrameLocks noGrp="1"/>
          </p:cNvGraphicFramePr>
          <p:nvPr/>
        </p:nvGraphicFramePr>
        <p:xfrm>
          <a:off x="7353300" y="5556199"/>
          <a:ext cx="4564170" cy="853440"/>
        </p:xfrm>
        <a:graphic>
          <a:graphicData uri="http://schemas.openxmlformats.org/drawingml/2006/table">
            <a:tbl>
              <a:tblPr/>
              <a:tblGrid>
                <a:gridCol w="912834">
                  <a:extLst>
                    <a:ext uri="{9D8B030D-6E8A-4147-A177-3AD203B41FA5}">
                      <a16:colId xmlns:a16="http://schemas.microsoft.com/office/drawing/2014/main" val="2574125839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1487501241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3506814479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3397522180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2126288456"/>
                    </a:ext>
                  </a:extLst>
                </a:gridCol>
              </a:tblGrid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13428332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,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,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FE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,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0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6E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5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317198"/>
                  </a:ext>
                </a:extLst>
              </a:tr>
            </a:tbl>
          </a:graphicData>
        </a:graphic>
      </p:graphicFrame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3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.3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.3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3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3.–</a:t>
                      </a:r>
                      <a:b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3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3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3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3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4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9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3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3 (1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5 (1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2 (1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2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3/2021</a:t>
            </a:r>
          </a:p>
        </p:txBody>
      </p:sp>
      <p:sp>
        <p:nvSpPr>
          <p:cNvPr id="13" name="TextovéPole 9">
            <a:extLst>
              <a:ext uri="{FF2B5EF4-FFF2-40B4-BE49-F238E27FC236}">
                <a16:creationId xmlns:a16="http://schemas.microsoft.com/office/drawing/2014/main" id="{DE098226-558B-4478-A6B1-DD8F943D86E2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18661968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9CC44A54-A727-4A27-AAD6-9EDB9E74857F}"/>
              </a:ext>
            </a:extLst>
          </p:cNvPr>
          <p:cNvGraphicFramePr>
            <a:graphicFrameLocks noGrp="1"/>
          </p:cNvGraphicFramePr>
          <p:nvPr/>
        </p:nvGraphicFramePr>
        <p:xfrm>
          <a:off x="7353300" y="5556199"/>
          <a:ext cx="4564170" cy="853440"/>
        </p:xfrm>
        <a:graphic>
          <a:graphicData uri="http://schemas.openxmlformats.org/drawingml/2006/table">
            <a:tbl>
              <a:tblPr/>
              <a:tblGrid>
                <a:gridCol w="912834">
                  <a:extLst>
                    <a:ext uri="{9D8B030D-6E8A-4147-A177-3AD203B41FA5}">
                      <a16:colId xmlns:a16="http://schemas.microsoft.com/office/drawing/2014/main" val="517574968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4045578820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3606493004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507872686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2438822546"/>
                    </a:ext>
                  </a:extLst>
                </a:gridCol>
              </a:tblGrid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44969864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5E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,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4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1F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5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52802428"/>
                  </a:ext>
                </a:extLst>
              </a:tr>
            </a:tbl>
          </a:graphicData>
        </a:graphic>
      </p:graphicFrame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3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4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4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4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4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4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4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4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4.–</a:t>
                      </a:r>
                      <a:b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5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2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4/2021</a:t>
            </a:r>
          </a:p>
        </p:txBody>
      </p:sp>
      <p:sp>
        <p:nvSpPr>
          <p:cNvPr id="11" name="TextovéPole 9">
            <a:extLst>
              <a:ext uri="{FF2B5EF4-FFF2-40B4-BE49-F238E27FC236}">
                <a16:creationId xmlns:a16="http://schemas.microsoft.com/office/drawing/2014/main" id="{1DF2C9EC-1343-455F-B625-1BA8F6D4F4A8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58187991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DBFAEF02-39D0-40BD-A8AF-48F84CD1AFC9}"/>
              </a:ext>
            </a:extLst>
          </p:cNvPr>
          <p:cNvGraphicFramePr>
            <a:graphicFrameLocks noGrp="1"/>
          </p:cNvGraphicFramePr>
          <p:nvPr/>
        </p:nvGraphicFramePr>
        <p:xfrm>
          <a:off x="7349384" y="5556199"/>
          <a:ext cx="4568082" cy="853440"/>
        </p:xfrm>
        <a:graphic>
          <a:graphicData uri="http://schemas.openxmlformats.org/drawingml/2006/table">
            <a:tbl>
              <a:tblPr/>
              <a:tblGrid>
                <a:gridCol w="761347">
                  <a:extLst>
                    <a:ext uri="{9D8B030D-6E8A-4147-A177-3AD203B41FA5}">
                      <a16:colId xmlns:a16="http://schemas.microsoft.com/office/drawing/2014/main" val="1628781168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501123856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4130467436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3686574967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166410874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3825222212"/>
                    </a:ext>
                  </a:extLst>
                </a:gridCol>
              </a:tblGrid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28888248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5E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6F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9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30606459"/>
                  </a:ext>
                </a:extLst>
              </a:tr>
            </a:tbl>
          </a:graphicData>
        </a:graphic>
      </p:graphicFrame>
      <p:sp>
        <p:nvSpPr>
          <p:cNvPr id="13" name="TextovéPole 9">
            <a:extLst>
              <a:ext uri="{FF2B5EF4-FFF2-40B4-BE49-F238E27FC236}">
                <a16:creationId xmlns:a16="http://schemas.microsoft.com/office/drawing/2014/main" id="{6A22C561-33A4-44DE-8060-C4F3B9EB1921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151777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3650229900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4.–</a:t>
                      </a:r>
                      <a:b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5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5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.5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5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5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5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5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5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5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5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6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5/2021</a:t>
            </a:r>
          </a:p>
        </p:txBody>
      </p:sp>
    </p:spTree>
    <p:extLst>
      <p:ext uri="{BB962C8B-B14F-4D97-AF65-F5344CB8AC3E}">
        <p14:creationId xmlns:p14="http://schemas.microsoft.com/office/powerpoint/2010/main" val="71210809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FEAFEFFD-24CD-473C-9242-E7E95093A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0911974"/>
              </p:ext>
            </p:extLst>
          </p:nvPr>
        </p:nvGraphicFramePr>
        <p:xfrm>
          <a:off x="1003518" y="5723959"/>
          <a:ext cx="10940850" cy="731520"/>
        </p:xfrm>
        <a:graphic>
          <a:graphicData uri="http://schemas.openxmlformats.org/drawingml/2006/table">
            <a:tbl>
              <a:tblPr/>
              <a:tblGrid>
                <a:gridCol w="121565">
                  <a:extLst>
                    <a:ext uri="{9D8B030D-6E8A-4147-A177-3AD203B41FA5}">
                      <a16:colId xmlns:a16="http://schemas.microsoft.com/office/drawing/2014/main" val="3127026319"/>
                    </a:ext>
                  </a:extLst>
                </a:gridCol>
                <a:gridCol w="121565">
                  <a:extLst>
                    <a:ext uri="{9D8B030D-6E8A-4147-A177-3AD203B41FA5}">
                      <a16:colId xmlns:a16="http://schemas.microsoft.com/office/drawing/2014/main" val="1772785259"/>
                    </a:ext>
                  </a:extLst>
                </a:gridCol>
                <a:gridCol w="121565">
                  <a:extLst>
                    <a:ext uri="{9D8B030D-6E8A-4147-A177-3AD203B41FA5}">
                      <a16:colId xmlns:a16="http://schemas.microsoft.com/office/drawing/2014/main" val="3488846410"/>
                    </a:ext>
                  </a:extLst>
                </a:gridCol>
                <a:gridCol w="121565">
                  <a:extLst>
                    <a:ext uri="{9D8B030D-6E8A-4147-A177-3AD203B41FA5}">
                      <a16:colId xmlns:a16="http://schemas.microsoft.com/office/drawing/2014/main" val="992689126"/>
                    </a:ext>
                  </a:extLst>
                </a:gridCol>
                <a:gridCol w="121565">
                  <a:extLst>
                    <a:ext uri="{9D8B030D-6E8A-4147-A177-3AD203B41FA5}">
                      <a16:colId xmlns:a16="http://schemas.microsoft.com/office/drawing/2014/main" val="1691767417"/>
                    </a:ext>
                  </a:extLst>
                </a:gridCol>
                <a:gridCol w="121565">
                  <a:extLst>
                    <a:ext uri="{9D8B030D-6E8A-4147-A177-3AD203B41FA5}">
                      <a16:colId xmlns:a16="http://schemas.microsoft.com/office/drawing/2014/main" val="3162874615"/>
                    </a:ext>
                  </a:extLst>
                </a:gridCol>
                <a:gridCol w="121565">
                  <a:extLst>
                    <a:ext uri="{9D8B030D-6E8A-4147-A177-3AD203B41FA5}">
                      <a16:colId xmlns:a16="http://schemas.microsoft.com/office/drawing/2014/main" val="282597912"/>
                    </a:ext>
                  </a:extLst>
                </a:gridCol>
                <a:gridCol w="121565">
                  <a:extLst>
                    <a:ext uri="{9D8B030D-6E8A-4147-A177-3AD203B41FA5}">
                      <a16:colId xmlns:a16="http://schemas.microsoft.com/office/drawing/2014/main" val="1291096400"/>
                    </a:ext>
                  </a:extLst>
                </a:gridCol>
                <a:gridCol w="121565">
                  <a:extLst>
                    <a:ext uri="{9D8B030D-6E8A-4147-A177-3AD203B41FA5}">
                      <a16:colId xmlns:a16="http://schemas.microsoft.com/office/drawing/2014/main" val="711793527"/>
                    </a:ext>
                  </a:extLst>
                </a:gridCol>
                <a:gridCol w="121565">
                  <a:extLst>
                    <a:ext uri="{9D8B030D-6E8A-4147-A177-3AD203B41FA5}">
                      <a16:colId xmlns:a16="http://schemas.microsoft.com/office/drawing/2014/main" val="3953998277"/>
                    </a:ext>
                  </a:extLst>
                </a:gridCol>
                <a:gridCol w="121565">
                  <a:extLst>
                    <a:ext uri="{9D8B030D-6E8A-4147-A177-3AD203B41FA5}">
                      <a16:colId xmlns:a16="http://schemas.microsoft.com/office/drawing/2014/main" val="3436379533"/>
                    </a:ext>
                  </a:extLst>
                </a:gridCol>
                <a:gridCol w="121565">
                  <a:extLst>
                    <a:ext uri="{9D8B030D-6E8A-4147-A177-3AD203B41FA5}">
                      <a16:colId xmlns:a16="http://schemas.microsoft.com/office/drawing/2014/main" val="435726550"/>
                    </a:ext>
                  </a:extLst>
                </a:gridCol>
                <a:gridCol w="121565">
                  <a:extLst>
                    <a:ext uri="{9D8B030D-6E8A-4147-A177-3AD203B41FA5}">
                      <a16:colId xmlns:a16="http://schemas.microsoft.com/office/drawing/2014/main" val="3136503426"/>
                    </a:ext>
                  </a:extLst>
                </a:gridCol>
                <a:gridCol w="121565">
                  <a:extLst>
                    <a:ext uri="{9D8B030D-6E8A-4147-A177-3AD203B41FA5}">
                      <a16:colId xmlns:a16="http://schemas.microsoft.com/office/drawing/2014/main" val="191440184"/>
                    </a:ext>
                  </a:extLst>
                </a:gridCol>
                <a:gridCol w="121565">
                  <a:extLst>
                    <a:ext uri="{9D8B030D-6E8A-4147-A177-3AD203B41FA5}">
                      <a16:colId xmlns:a16="http://schemas.microsoft.com/office/drawing/2014/main" val="3183474126"/>
                    </a:ext>
                  </a:extLst>
                </a:gridCol>
                <a:gridCol w="121565">
                  <a:extLst>
                    <a:ext uri="{9D8B030D-6E8A-4147-A177-3AD203B41FA5}">
                      <a16:colId xmlns:a16="http://schemas.microsoft.com/office/drawing/2014/main" val="1142548169"/>
                    </a:ext>
                  </a:extLst>
                </a:gridCol>
                <a:gridCol w="121565">
                  <a:extLst>
                    <a:ext uri="{9D8B030D-6E8A-4147-A177-3AD203B41FA5}">
                      <a16:colId xmlns:a16="http://schemas.microsoft.com/office/drawing/2014/main" val="842904064"/>
                    </a:ext>
                  </a:extLst>
                </a:gridCol>
                <a:gridCol w="121565">
                  <a:extLst>
                    <a:ext uri="{9D8B030D-6E8A-4147-A177-3AD203B41FA5}">
                      <a16:colId xmlns:a16="http://schemas.microsoft.com/office/drawing/2014/main" val="2941924029"/>
                    </a:ext>
                  </a:extLst>
                </a:gridCol>
                <a:gridCol w="121565">
                  <a:extLst>
                    <a:ext uri="{9D8B030D-6E8A-4147-A177-3AD203B41FA5}">
                      <a16:colId xmlns:a16="http://schemas.microsoft.com/office/drawing/2014/main" val="1612921561"/>
                    </a:ext>
                  </a:extLst>
                </a:gridCol>
                <a:gridCol w="121565">
                  <a:extLst>
                    <a:ext uri="{9D8B030D-6E8A-4147-A177-3AD203B41FA5}">
                      <a16:colId xmlns:a16="http://schemas.microsoft.com/office/drawing/2014/main" val="1355975631"/>
                    </a:ext>
                  </a:extLst>
                </a:gridCol>
                <a:gridCol w="121565">
                  <a:extLst>
                    <a:ext uri="{9D8B030D-6E8A-4147-A177-3AD203B41FA5}">
                      <a16:colId xmlns:a16="http://schemas.microsoft.com/office/drawing/2014/main" val="2630291124"/>
                    </a:ext>
                  </a:extLst>
                </a:gridCol>
                <a:gridCol w="121565">
                  <a:extLst>
                    <a:ext uri="{9D8B030D-6E8A-4147-A177-3AD203B41FA5}">
                      <a16:colId xmlns:a16="http://schemas.microsoft.com/office/drawing/2014/main" val="3545121796"/>
                    </a:ext>
                  </a:extLst>
                </a:gridCol>
                <a:gridCol w="121565">
                  <a:extLst>
                    <a:ext uri="{9D8B030D-6E8A-4147-A177-3AD203B41FA5}">
                      <a16:colId xmlns:a16="http://schemas.microsoft.com/office/drawing/2014/main" val="964157094"/>
                    </a:ext>
                  </a:extLst>
                </a:gridCol>
                <a:gridCol w="121565">
                  <a:extLst>
                    <a:ext uri="{9D8B030D-6E8A-4147-A177-3AD203B41FA5}">
                      <a16:colId xmlns:a16="http://schemas.microsoft.com/office/drawing/2014/main" val="3455292701"/>
                    </a:ext>
                  </a:extLst>
                </a:gridCol>
                <a:gridCol w="121565">
                  <a:extLst>
                    <a:ext uri="{9D8B030D-6E8A-4147-A177-3AD203B41FA5}">
                      <a16:colId xmlns:a16="http://schemas.microsoft.com/office/drawing/2014/main" val="2359318103"/>
                    </a:ext>
                  </a:extLst>
                </a:gridCol>
                <a:gridCol w="121565">
                  <a:extLst>
                    <a:ext uri="{9D8B030D-6E8A-4147-A177-3AD203B41FA5}">
                      <a16:colId xmlns:a16="http://schemas.microsoft.com/office/drawing/2014/main" val="3184721089"/>
                    </a:ext>
                  </a:extLst>
                </a:gridCol>
                <a:gridCol w="121565">
                  <a:extLst>
                    <a:ext uri="{9D8B030D-6E8A-4147-A177-3AD203B41FA5}">
                      <a16:colId xmlns:a16="http://schemas.microsoft.com/office/drawing/2014/main" val="574624024"/>
                    </a:ext>
                  </a:extLst>
                </a:gridCol>
                <a:gridCol w="121565">
                  <a:extLst>
                    <a:ext uri="{9D8B030D-6E8A-4147-A177-3AD203B41FA5}">
                      <a16:colId xmlns:a16="http://schemas.microsoft.com/office/drawing/2014/main" val="2259186243"/>
                    </a:ext>
                  </a:extLst>
                </a:gridCol>
                <a:gridCol w="121565">
                  <a:extLst>
                    <a:ext uri="{9D8B030D-6E8A-4147-A177-3AD203B41FA5}">
                      <a16:colId xmlns:a16="http://schemas.microsoft.com/office/drawing/2014/main" val="367632479"/>
                    </a:ext>
                  </a:extLst>
                </a:gridCol>
                <a:gridCol w="121565">
                  <a:extLst>
                    <a:ext uri="{9D8B030D-6E8A-4147-A177-3AD203B41FA5}">
                      <a16:colId xmlns:a16="http://schemas.microsoft.com/office/drawing/2014/main" val="3257755092"/>
                    </a:ext>
                  </a:extLst>
                </a:gridCol>
                <a:gridCol w="121565">
                  <a:extLst>
                    <a:ext uri="{9D8B030D-6E8A-4147-A177-3AD203B41FA5}">
                      <a16:colId xmlns:a16="http://schemas.microsoft.com/office/drawing/2014/main" val="2693324678"/>
                    </a:ext>
                  </a:extLst>
                </a:gridCol>
                <a:gridCol w="121565">
                  <a:extLst>
                    <a:ext uri="{9D8B030D-6E8A-4147-A177-3AD203B41FA5}">
                      <a16:colId xmlns:a16="http://schemas.microsoft.com/office/drawing/2014/main" val="3822664005"/>
                    </a:ext>
                  </a:extLst>
                </a:gridCol>
                <a:gridCol w="121565">
                  <a:extLst>
                    <a:ext uri="{9D8B030D-6E8A-4147-A177-3AD203B41FA5}">
                      <a16:colId xmlns:a16="http://schemas.microsoft.com/office/drawing/2014/main" val="1095307864"/>
                    </a:ext>
                  </a:extLst>
                </a:gridCol>
                <a:gridCol w="121565">
                  <a:extLst>
                    <a:ext uri="{9D8B030D-6E8A-4147-A177-3AD203B41FA5}">
                      <a16:colId xmlns:a16="http://schemas.microsoft.com/office/drawing/2014/main" val="3144412853"/>
                    </a:ext>
                  </a:extLst>
                </a:gridCol>
                <a:gridCol w="121565">
                  <a:extLst>
                    <a:ext uri="{9D8B030D-6E8A-4147-A177-3AD203B41FA5}">
                      <a16:colId xmlns:a16="http://schemas.microsoft.com/office/drawing/2014/main" val="2473868451"/>
                    </a:ext>
                  </a:extLst>
                </a:gridCol>
                <a:gridCol w="121565">
                  <a:extLst>
                    <a:ext uri="{9D8B030D-6E8A-4147-A177-3AD203B41FA5}">
                      <a16:colId xmlns:a16="http://schemas.microsoft.com/office/drawing/2014/main" val="3261087751"/>
                    </a:ext>
                  </a:extLst>
                </a:gridCol>
                <a:gridCol w="121565">
                  <a:extLst>
                    <a:ext uri="{9D8B030D-6E8A-4147-A177-3AD203B41FA5}">
                      <a16:colId xmlns:a16="http://schemas.microsoft.com/office/drawing/2014/main" val="2668201014"/>
                    </a:ext>
                  </a:extLst>
                </a:gridCol>
                <a:gridCol w="121565">
                  <a:extLst>
                    <a:ext uri="{9D8B030D-6E8A-4147-A177-3AD203B41FA5}">
                      <a16:colId xmlns:a16="http://schemas.microsoft.com/office/drawing/2014/main" val="708237242"/>
                    </a:ext>
                  </a:extLst>
                </a:gridCol>
                <a:gridCol w="121565">
                  <a:extLst>
                    <a:ext uri="{9D8B030D-6E8A-4147-A177-3AD203B41FA5}">
                      <a16:colId xmlns:a16="http://schemas.microsoft.com/office/drawing/2014/main" val="3648090999"/>
                    </a:ext>
                  </a:extLst>
                </a:gridCol>
                <a:gridCol w="121565">
                  <a:extLst>
                    <a:ext uri="{9D8B030D-6E8A-4147-A177-3AD203B41FA5}">
                      <a16:colId xmlns:a16="http://schemas.microsoft.com/office/drawing/2014/main" val="2519134376"/>
                    </a:ext>
                  </a:extLst>
                </a:gridCol>
                <a:gridCol w="121565">
                  <a:extLst>
                    <a:ext uri="{9D8B030D-6E8A-4147-A177-3AD203B41FA5}">
                      <a16:colId xmlns:a16="http://schemas.microsoft.com/office/drawing/2014/main" val="1205168250"/>
                    </a:ext>
                  </a:extLst>
                </a:gridCol>
                <a:gridCol w="121565">
                  <a:extLst>
                    <a:ext uri="{9D8B030D-6E8A-4147-A177-3AD203B41FA5}">
                      <a16:colId xmlns:a16="http://schemas.microsoft.com/office/drawing/2014/main" val="676703929"/>
                    </a:ext>
                  </a:extLst>
                </a:gridCol>
                <a:gridCol w="121565">
                  <a:extLst>
                    <a:ext uri="{9D8B030D-6E8A-4147-A177-3AD203B41FA5}">
                      <a16:colId xmlns:a16="http://schemas.microsoft.com/office/drawing/2014/main" val="3608440365"/>
                    </a:ext>
                  </a:extLst>
                </a:gridCol>
                <a:gridCol w="121565">
                  <a:extLst>
                    <a:ext uri="{9D8B030D-6E8A-4147-A177-3AD203B41FA5}">
                      <a16:colId xmlns:a16="http://schemas.microsoft.com/office/drawing/2014/main" val="3257407613"/>
                    </a:ext>
                  </a:extLst>
                </a:gridCol>
                <a:gridCol w="121565">
                  <a:extLst>
                    <a:ext uri="{9D8B030D-6E8A-4147-A177-3AD203B41FA5}">
                      <a16:colId xmlns:a16="http://schemas.microsoft.com/office/drawing/2014/main" val="3986307786"/>
                    </a:ext>
                  </a:extLst>
                </a:gridCol>
                <a:gridCol w="121565">
                  <a:extLst>
                    <a:ext uri="{9D8B030D-6E8A-4147-A177-3AD203B41FA5}">
                      <a16:colId xmlns:a16="http://schemas.microsoft.com/office/drawing/2014/main" val="53884457"/>
                    </a:ext>
                  </a:extLst>
                </a:gridCol>
                <a:gridCol w="121565">
                  <a:extLst>
                    <a:ext uri="{9D8B030D-6E8A-4147-A177-3AD203B41FA5}">
                      <a16:colId xmlns:a16="http://schemas.microsoft.com/office/drawing/2014/main" val="1787872439"/>
                    </a:ext>
                  </a:extLst>
                </a:gridCol>
                <a:gridCol w="121565">
                  <a:extLst>
                    <a:ext uri="{9D8B030D-6E8A-4147-A177-3AD203B41FA5}">
                      <a16:colId xmlns:a16="http://schemas.microsoft.com/office/drawing/2014/main" val="192979543"/>
                    </a:ext>
                  </a:extLst>
                </a:gridCol>
                <a:gridCol w="121565">
                  <a:extLst>
                    <a:ext uri="{9D8B030D-6E8A-4147-A177-3AD203B41FA5}">
                      <a16:colId xmlns:a16="http://schemas.microsoft.com/office/drawing/2014/main" val="725412824"/>
                    </a:ext>
                  </a:extLst>
                </a:gridCol>
                <a:gridCol w="121565">
                  <a:extLst>
                    <a:ext uri="{9D8B030D-6E8A-4147-A177-3AD203B41FA5}">
                      <a16:colId xmlns:a16="http://schemas.microsoft.com/office/drawing/2014/main" val="3596981949"/>
                    </a:ext>
                  </a:extLst>
                </a:gridCol>
                <a:gridCol w="121565">
                  <a:extLst>
                    <a:ext uri="{9D8B030D-6E8A-4147-A177-3AD203B41FA5}">
                      <a16:colId xmlns:a16="http://schemas.microsoft.com/office/drawing/2014/main" val="2581335049"/>
                    </a:ext>
                  </a:extLst>
                </a:gridCol>
                <a:gridCol w="121565">
                  <a:extLst>
                    <a:ext uri="{9D8B030D-6E8A-4147-A177-3AD203B41FA5}">
                      <a16:colId xmlns:a16="http://schemas.microsoft.com/office/drawing/2014/main" val="702733854"/>
                    </a:ext>
                  </a:extLst>
                </a:gridCol>
                <a:gridCol w="121565">
                  <a:extLst>
                    <a:ext uri="{9D8B030D-6E8A-4147-A177-3AD203B41FA5}">
                      <a16:colId xmlns:a16="http://schemas.microsoft.com/office/drawing/2014/main" val="2653008087"/>
                    </a:ext>
                  </a:extLst>
                </a:gridCol>
                <a:gridCol w="121565">
                  <a:extLst>
                    <a:ext uri="{9D8B030D-6E8A-4147-A177-3AD203B41FA5}">
                      <a16:colId xmlns:a16="http://schemas.microsoft.com/office/drawing/2014/main" val="3719968776"/>
                    </a:ext>
                  </a:extLst>
                </a:gridCol>
                <a:gridCol w="121565">
                  <a:extLst>
                    <a:ext uri="{9D8B030D-6E8A-4147-A177-3AD203B41FA5}">
                      <a16:colId xmlns:a16="http://schemas.microsoft.com/office/drawing/2014/main" val="3272391001"/>
                    </a:ext>
                  </a:extLst>
                </a:gridCol>
                <a:gridCol w="121565">
                  <a:extLst>
                    <a:ext uri="{9D8B030D-6E8A-4147-A177-3AD203B41FA5}">
                      <a16:colId xmlns:a16="http://schemas.microsoft.com/office/drawing/2014/main" val="3131911169"/>
                    </a:ext>
                  </a:extLst>
                </a:gridCol>
                <a:gridCol w="121565">
                  <a:extLst>
                    <a:ext uri="{9D8B030D-6E8A-4147-A177-3AD203B41FA5}">
                      <a16:colId xmlns:a16="http://schemas.microsoft.com/office/drawing/2014/main" val="97779243"/>
                    </a:ext>
                  </a:extLst>
                </a:gridCol>
                <a:gridCol w="121565">
                  <a:extLst>
                    <a:ext uri="{9D8B030D-6E8A-4147-A177-3AD203B41FA5}">
                      <a16:colId xmlns:a16="http://schemas.microsoft.com/office/drawing/2014/main" val="737124475"/>
                    </a:ext>
                  </a:extLst>
                </a:gridCol>
                <a:gridCol w="121565">
                  <a:extLst>
                    <a:ext uri="{9D8B030D-6E8A-4147-A177-3AD203B41FA5}">
                      <a16:colId xmlns:a16="http://schemas.microsoft.com/office/drawing/2014/main" val="3991802507"/>
                    </a:ext>
                  </a:extLst>
                </a:gridCol>
                <a:gridCol w="121565">
                  <a:extLst>
                    <a:ext uri="{9D8B030D-6E8A-4147-A177-3AD203B41FA5}">
                      <a16:colId xmlns:a16="http://schemas.microsoft.com/office/drawing/2014/main" val="1282734821"/>
                    </a:ext>
                  </a:extLst>
                </a:gridCol>
                <a:gridCol w="121565">
                  <a:extLst>
                    <a:ext uri="{9D8B030D-6E8A-4147-A177-3AD203B41FA5}">
                      <a16:colId xmlns:a16="http://schemas.microsoft.com/office/drawing/2014/main" val="2787721964"/>
                    </a:ext>
                  </a:extLst>
                </a:gridCol>
                <a:gridCol w="121565">
                  <a:extLst>
                    <a:ext uri="{9D8B030D-6E8A-4147-A177-3AD203B41FA5}">
                      <a16:colId xmlns:a16="http://schemas.microsoft.com/office/drawing/2014/main" val="1341294460"/>
                    </a:ext>
                  </a:extLst>
                </a:gridCol>
                <a:gridCol w="121565">
                  <a:extLst>
                    <a:ext uri="{9D8B030D-6E8A-4147-A177-3AD203B41FA5}">
                      <a16:colId xmlns:a16="http://schemas.microsoft.com/office/drawing/2014/main" val="3346272370"/>
                    </a:ext>
                  </a:extLst>
                </a:gridCol>
                <a:gridCol w="121565">
                  <a:extLst>
                    <a:ext uri="{9D8B030D-6E8A-4147-A177-3AD203B41FA5}">
                      <a16:colId xmlns:a16="http://schemas.microsoft.com/office/drawing/2014/main" val="1407630952"/>
                    </a:ext>
                  </a:extLst>
                </a:gridCol>
                <a:gridCol w="121565">
                  <a:extLst>
                    <a:ext uri="{9D8B030D-6E8A-4147-A177-3AD203B41FA5}">
                      <a16:colId xmlns:a16="http://schemas.microsoft.com/office/drawing/2014/main" val="2004093616"/>
                    </a:ext>
                  </a:extLst>
                </a:gridCol>
                <a:gridCol w="121565">
                  <a:extLst>
                    <a:ext uri="{9D8B030D-6E8A-4147-A177-3AD203B41FA5}">
                      <a16:colId xmlns:a16="http://schemas.microsoft.com/office/drawing/2014/main" val="428968890"/>
                    </a:ext>
                  </a:extLst>
                </a:gridCol>
                <a:gridCol w="121565">
                  <a:extLst>
                    <a:ext uri="{9D8B030D-6E8A-4147-A177-3AD203B41FA5}">
                      <a16:colId xmlns:a16="http://schemas.microsoft.com/office/drawing/2014/main" val="692083907"/>
                    </a:ext>
                  </a:extLst>
                </a:gridCol>
                <a:gridCol w="121565">
                  <a:extLst>
                    <a:ext uri="{9D8B030D-6E8A-4147-A177-3AD203B41FA5}">
                      <a16:colId xmlns:a16="http://schemas.microsoft.com/office/drawing/2014/main" val="3685468642"/>
                    </a:ext>
                  </a:extLst>
                </a:gridCol>
                <a:gridCol w="121565">
                  <a:extLst>
                    <a:ext uri="{9D8B030D-6E8A-4147-A177-3AD203B41FA5}">
                      <a16:colId xmlns:a16="http://schemas.microsoft.com/office/drawing/2014/main" val="1798194225"/>
                    </a:ext>
                  </a:extLst>
                </a:gridCol>
                <a:gridCol w="121565">
                  <a:extLst>
                    <a:ext uri="{9D8B030D-6E8A-4147-A177-3AD203B41FA5}">
                      <a16:colId xmlns:a16="http://schemas.microsoft.com/office/drawing/2014/main" val="2178996934"/>
                    </a:ext>
                  </a:extLst>
                </a:gridCol>
                <a:gridCol w="121565">
                  <a:extLst>
                    <a:ext uri="{9D8B030D-6E8A-4147-A177-3AD203B41FA5}">
                      <a16:colId xmlns:a16="http://schemas.microsoft.com/office/drawing/2014/main" val="4169870720"/>
                    </a:ext>
                  </a:extLst>
                </a:gridCol>
                <a:gridCol w="121565">
                  <a:extLst>
                    <a:ext uri="{9D8B030D-6E8A-4147-A177-3AD203B41FA5}">
                      <a16:colId xmlns:a16="http://schemas.microsoft.com/office/drawing/2014/main" val="3428199766"/>
                    </a:ext>
                  </a:extLst>
                </a:gridCol>
                <a:gridCol w="121565">
                  <a:extLst>
                    <a:ext uri="{9D8B030D-6E8A-4147-A177-3AD203B41FA5}">
                      <a16:colId xmlns:a16="http://schemas.microsoft.com/office/drawing/2014/main" val="1564404123"/>
                    </a:ext>
                  </a:extLst>
                </a:gridCol>
                <a:gridCol w="121565">
                  <a:extLst>
                    <a:ext uri="{9D8B030D-6E8A-4147-A177-3AD203B41FA5}">
                      <a16:colId xmlns:a16="http://schemas.microsoft.com/office/drawing/2014/main" val="3188388091"/>
                    </a:ext>
                  </a:extLst>
                </a:gridCol>
                <a:gridCol w="121565">
                  <a:extLst>
                    <a:ext uri="{9D8B030D-6E8A-4147-A177-3AD203B41FA5}">
                      <a16:colId xmlns:a16="http://schemas.microsoft.com/office/drawing/2014/main" val="977323521"/>
                    </a:ext>
                  </a:extLst>
                </a:gridCol>
                <a:gridCol w="121565">
                  <a:extLst>
                    <a:ext uri="{9D8B030D-6E8A-4147-A177-3AD203B41FA5}">
                      <a16:colId xmlns:a16="http://schemas.microsoft.com/office/drawing/2014/main" val="3473956100"/>
                    </a:ext>
                  </a:extLst>
                </a:gridCol>
                <a:gridCol w="121565">
                  <a:extLst>
                    <a:ext uri="{9D8B030D-6E8A-4147-A177-3AD203B41FA5}">
                      <a16:colId xmlns:a16="http://schemas.microsoft.com/office/drawing/2014/main" val="2552078186"/>
                    </a:ext>
                  </a:extLst>
                </a:gridCol>
                <a:gridCol w="121565">
                  <a:extLst>
                    <a:ext uri="{9D8B030D-6E8A-4147-A177-3AD203B41FA5}">
                      <a16:colId xmlns:a16="http://schemas.microsoft.com/office/drawing/2014/main" val="2129657023"/>
                    </a:ext>
                  </a:extLst>
                </a:gridCol>
                <a:gridCol w="121565">
                  <a:extLst>
                    <a:ext uri="{9D8B030D-6E8A-4147-A177-3AD203B41FA5}">
                      <a16:colId xmlns:a16="http://schemas.microsoft.com/office/drawing/2014/main" val="1926704598"/>
                    </a:ext>
                  </a:extLst>
                </a:gridCol>
                <a:gridCol w="121565">
                  <a:extLst>
                    <a:ext uri="{9D8B030D-6E8A-4147-A177-3AD203B41FA5}">
                      <a16:colId xmlns:a16="http://schemas.microsoft.com/office/drawing/2014/main" val="1412304890"/>
                    </a:ext>
                  </a:extLst>
                </a:gridCol>
                <a:gridCol w="121565">
                  <a:extLst>
                    <a:ext uri="{9D8B030D-6E8A-4147-A177-3AD203B41FA5}">
                      <a16:colId xmlns:a16="http://schemas.microsoft.com/office/drawing/2014/main" val="4100380718"/>
                    </a:ext>
                  </a:extLst>
                </a:gridCol>
                <a:gridCol w="121565">
                  <a:extLst>
                    <a:ext uri="{9D8B030D-6E8A-4147-A177-3AD203B41FA5}">
                      <a16:colId xmlns:a16="http://schemas.microsoft.com/office/drawing/2014/main" val="2757647860"/>
                    </a:ext>
                  </a:extLst>
                </a:gridCol>
                <a:gridCol w="121565">
                  <a:extLst>
                    <a:ext uri="{9D8B030D-6E8A-4147-A177-3AD203B41FA5}">
                      <a16:colId xmlns:a16="http://schemas.microsoft.com/office/drawing/2014/main" val="2222429297"/>
                    </a:ext>
                  </a:extLst>
                </a:gridCol>
                <a:gridCol w="121565">
                  <a:extLst>
                    <a:ext uri="{9D8B030D-6E8A-4147-A177-3AD203B41FA5}">
                      <a16:colId xmlns:a16="http://schemas.microsoft.com/office/drawing/2014/main" val="620677775"/>
                    </a:ext>
                  </a:extLst>
                </a:gridCol>
                <a:gridCol w="121565">
                  <a:extLst>
                    <a:ext uri="{9D8B030D-6E8A-4147-A177-3AD203B41FA5}">
                      <a16:colId xmlns:a16="http://schemas.microsoft.com/office/drawing/2014/main" val="314065886"/>
                    </a:ext>
                  </a:extLst>
                </a:gridCol>
                <a:gridCol w="121565">
                  <a:extLst>
                    <a:ext uri="{9D8B030D-6E8A-4147-A177-3AD203B41FA5}">
                      <a16:colId xmlns:a16="http://schemas.microsoft.com/office/drawing/2014/main" val="3871814889"/>
                    </a:ext>
                  </a:extLst>
                </a:gridCol>
                <a:gridCol w="121565">
                  <a:extLst>
                    <a:ext uri="{9D8B030D-6E8A-4147-A177-3AD203B41FA5}">
                      <a16:colId xmlns:a16="http://schemas.microsoft.com/office/drawing/2014/main" val="646788058"/>
                    </a:ext>
                  </a:extLst>
                </a:gridCol>
                <a:gridCol w="121565">
                  <a:extLst>
                    <a:ext uri="{9D8B030D-6E8A-4147-A177-3AD203B41FA5}">
                      <a16:colId xmlns:a16="http://schemas.microsoft.com/office/drawing/2014/main" val="2241150417"/>
                    </a:ext>
                  </a:extLst>
                </a:gridCol>
                <a:gridCol w="121565">
                  <a:extLst>
                    <a:ext uri="{9D8B030D-6E8A-4147-A177-3AD203B41FA5}">
                      <a16:colId xmlns:a16="http://schemas.microsoft.com/office/drawing/2014/main" val="906092153"/>
                    </a:ext>
                  </a:extLst>
                </a:gridCol>
                <a:gridCol w="121565">
                  <a:extLst>
                    <a:ext uri="{9D8B030D-6E8A-4147-A177-3AD203B41FA5}">
                      <a16:colId xmlns:a16="http://schemas.microsoft.com/office/drawing/2014/main" val="3064530168"/>
                    </a:ext>
                  </a:extLst>
                </a:gridCol>
              </a:tblGrid>
              <a:tr h="36576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26429721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DE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4C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4B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BF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BF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4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,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FD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1F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,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6E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,8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AD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,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EE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F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8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,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9D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E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,2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1A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4B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8A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,2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4C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,6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4B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,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CB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,8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3C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,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EB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,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4B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,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1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,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9C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,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2C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,9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ED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,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6C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,9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1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,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6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,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1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,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5C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,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9D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,4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4D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,9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,6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FE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,4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0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,8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6E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,4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3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,4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4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1F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5E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6F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5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9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8F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9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6F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E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0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9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3F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5E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E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,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EE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F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9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,9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CD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9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9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5E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,8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7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,6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B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FE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,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8E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,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B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8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9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,5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B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F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82603855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ctr"/>
            <a:r>
              <a:rPr lang="cs-CZ" sz="1400" dirty="0">
                <a:solidFill>
                  <a:srgbClr val="000000"/>
                </a:solidFill>
                <a:latin typeface="Calibri" panose="020F0502020204030204" pitchFamily="34" charset="0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904039722"/>
              </p:ext>
            </p:extLst>
          </p:nvPr>
        </p:nvGraphicFramePr>
        <p:xfrm>
          <a:off x="485775" y="895349"/>
          <a:ext cx="11608237" cy="482861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09563"/>
            <a:ext cx="11458575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b"/>
            <a:r>
              <a:rPr lang="cs-CZ" b="1" dirty="0">
                <a:solidFill>
                  <a:srgbClr val="000000"/>
                </a:solidFill>
                <a:latin typeface="Calibri" panose="020F0502020204030204" pitchFamily="34" charset="0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90905" y="5727649"/>
          <a:ext cx="11853445" cy="73152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7025837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2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2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2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9" name="TextovéPole 9">
            <a:extLst>
              <a:ext uri="{FF2B5EF4-FFF2-40B4-BE49-F238E27FC236}">
                <a16:creationId xmlns:a16="http://schemas.microsoft.com/office/drawing/2014/main" id="{6C2CDEC2-B893-491C-BB5B-D4EEE3DC82DC}"/>
              </a:ext>
            </a:extLst>
          </p:cNvPr>
          <p:cNvSpPr txBox="1"/>
          <p:nvPr/>
        </p:nvSpPr>
        <p:spPr>
          <a:xfrm>
            <a:off x="8274425" y="6516527"/>
            <a:ext cx="38195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200" dirty="0"/>
              <a:t>Zdroj: </a:t>
            </a:r>
            <a:r>
              <a:rPr lang="cs-CZ" sz="1200" dirty="0" err="1"/>
              <a:t>Covid</a:t>
            </a:r>
            <a:r>
              <a:rPr lang="cs-CZ" sz="1200" dirty="0"/>
              <a:t> </a:t>
            </a:r>
            <a:r>
              <a:rPr lang="cs-CZ" sz="1200" dirty="0" err="1"/>
              <a:t>Forms</a:t>
            </a:r>
            <a:r>
              <a:rPr lang="cs-CZ" sz="1200" dirty="0"/>
              <a:t> – Události, </a:t>
            </a:r>
            <a:r>
              <a:rPr lang="cs-CZ" sz="1200" b="1" dirty="0">
                <a:solidFill>
                  <a:srgbClr val="C00000"/>
                </a:solidFill>
              </a:rPr>
              <a:t>stav k 15. 1. 2022</a:t>
            </a:r>
          </a:p>
        </p:txBody>
      </p:sp>
      <p:sp>
        <p:nvSpPr>
          <p:cNvPr id="10" name="Obdélník 9">
            <a:extLst>
              <a:ext uri="{FF2B5EF4-FFF2-40B4-BE49-F238E27FC236}">
                <a16:creationId xmlns:a16="http://schemas.microsoft.com/office/drawing/2014/main" id="{D81D70FC-F528-494D-8C3A-D477F854D763}"/>
              </a:ext>
            </a:extLst>
          </p:cNvPr>
          <p:cNvSpPr/>
          <p:nvPr/>
        </p:nvSpPr>
        <p:spPr>
          <a:xfrm>
            <a:off x="10842357" y="3390334"/>
            <a:ext cx="1154483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* předběžné údaje</a:t>
            </a: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Obdélník 11">
            <a:extLst>
              <a:ext uri="{FF2B5EF4-FFF2-40B4-BE49-F238E27FC236}">
                <a16:creationId xmlns:a16="http://schemas.microsoft.com/office/drawing/2014/main" id="{0E67781F-87FB-42C9-899D-4460B89C4830}"/>
              </a:ext>
            </a:extLst>
          </p:cNvPr>
          <p:cNvSpPr/>
          <p:nvPr/>
        </p:nvSpPr>
        <p:spPr>
          <a:xfrm>
            <a:off x="11753266" y="4716302"/>
            <a:ext cx="248786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*</a:t>
            </a: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87222811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5CC47735-3001-43A6-B955-E419A3EC1853}"/>
              </a:ext>
            </a:extLst>
          </p:cNvPr>
          <p:cNvGraphicFramePr>
            <a:graphicFrameLocks noGrp="1"/>
          </p:cNvGraphicFramePr>
          <p:nvPr/>
        </p:nvGraphicFramePr>
        <p:xfrm>
          <a:off x="7357964" y="5556199"/>
          <a:ext cx="4559505" cy="853440"/>
        </p:xfrm>
        <a:graphic>
          <a:graphicData uri="http://schemas.openxmlformats.org/drawingml/2006/table">
            <a:tbl>
              <a:tblPr/>
              <a:tblGrid>
                <a:gridCol w="911901">
                  <a:extLst>
                    <a:ext uri="{9D8B030D-6E8A-4147-A177-3AD203B41FA5}">
                      <a16:colId xmlns:a16="http://schemas.microsoft.com/office/drawing/2014/main" val="1486795782"/>
                    </a:ext>
                  </a:extLst>
                </a:gridCol>
                <a:gridCol w="911901">
                  <a:extLst>
                    <a:ext uri="{9D8B030D-6E8A-4147-A177-3AD203B41FA5}">
                      <a16:colId xmlns:a16="http://schemas.microsoft.com/office/drawing/2014/main" val="3322571971"/>
                    </a:ext>
                  </a:extLst>
                </a:gridCol>
                <a:gridCol w="911901">
                  <a:extLst>
                    <a:ext uri="{9D8B030D-6E8A-4147-A177-3AD203B41FA5}">
                      <a16:colId xmlns:a16="http://schemas.microsoft.com/office/drawing/2014/main" val="3346167304"/>
                    </a:ext>
                  </a:extLst>
                </a:gridCol>
                <a:gridCol w="911901">
                  <a:extLst>
                    <a:ext uri="{9D8B030D-6E8A-4147-A177-3AD203B41FA5}">
                      <a16:colId xmlns:a16="http://schemas.microsoft.com/office/drawing/2014/main" val="2249125035"/>
                    </a:ext>
                  </a:extLst>
                </a:gridCol>
                <a:gridCol w="911901">
                  <a:extLst>
                    <a:ext uri="{9D8B030D-6E8A-4147-A177-3AD203B41FA5}">
                      <a16:colId xmlns:a16="http://schemas.microsoft.com/office/drawing/2014/main" val="3840746938"/>
                    </a:ext>
                  </a:extLst>
                </a:gridCol>
              </a:tblGrid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41041646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9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8F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90949039"/>
                  </a:ext>
                </a:extLst>
              </a:tr>
            </a:tbl>
          </a:graphicData>
        </a:graphic>
      </p:graphicFrame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5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6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.6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6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6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6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6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6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6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7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6/2021</a:t>
            </a:r>
          </a:p>
        </p:txBody>
      </p:sp>
      <p:sp>
        <p:nvSpPr>
          <p:cNvPr id="13" name="TextovéPole 9">
            <a:extLst>
              <a:ext uri="{FF2B5EF4-FFF2-40B4-BE49-F238E27FC236}">
                <a16:creationId xmlns:a16="http://schemas.microsoft.com/office/drawing/2014/main" id="{DE098226-558B-4478-A6B1-DD8F943D86E2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2834702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87ED1146-C9C8-494A-B83A-6D1444C47513}"/>
              </a:ext>
            </a:extLst>
          </p:cNvPr>
          <p:cNvGraphicFramePr>
            <a:graphicFrameLocks noGrp="1"/>
          </p:cNvGraphicFramePr>
          <p:nvPr/>
        </p:nvGraphicFramePr>
        <p:xfrm>
          <a:off x="7362826" y="5543020"/>
          <a:ext cx="4554640" cy="866620"/>
        </p:xfrm>
        <a:graphic>
          <a:graphicData uri="http://schemas.openxmlformats.org/drawingml/2006/table">
            <a:tbl>
              <a:tblPr/>
              <a:tblGrid>
                <a:gridCol w="910928">
                  <a:extLst>
                    <a:ext uri="{9D8B030D-6E8A-4147-A177-3AD203B41FA5}">
                      <a16:colId xmlns:a16="http://schemas.microsoft.com/office/drawing/2014/main" val="1215948292"/>
                    </a:ext>
                  </a:extLst>
                </a:gridCol>
                <a:gridCol w="910928">
                  <a:extLst>
                    <a:ext uri="{9D8B030D-6E8A-4147-A177-3AD203B41FA5}">
                      <a16:colId xmlns:a16="http://schemas.microsoft.com/office/drawing/2014/main" val="747667204"/>
                    </a:ext>
                  </a:extLst>
                </a:gridCol>
                <a:gridCol w="910928">
                  <a:extLst>
                    <a:ext uri="{9D8B030D-6E8A-4147-A177-3AD203B41FA5}">
                      <a16:colId xmlns:a16="http://schemas.microsoft.com/office/drawing/2014/main" val="3344201301"/>
                    </a:ext>
                  </a:extLst>
                </a:gridCol>
                <a:gridCol w="910928">
                  <a:extLst>
                    <a:ext uri="{9D8B030D-6E8A-4147-A177-3AD203B41FA5}">
                      <a16:colId xmlns:a16="http://schemas.microsoft.com/office/drawing/2014/main" val="3217620225"/>
                    </a:ext>
                  </a:extLst>
                </a:gridCol>
                <a:gridCol w="910928">
                  <a:extLst>
                    <a:ext uri="{9D8B030D-6E8A-4147-A177-3AD203B41FA5}">
                      <a16:colId xmlns:a16="http://schemas.microsoft.com/office/drawing/2014/main" val="485669683"/>
                    </a:ext>
                  </a:extLst>
                </a:gridCol>
              </a:tblGrid>
              <a:tr h="43331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71635236"/>
                  </a:ext>
                </a:extLst>
              </a:tr>
              <a:tr h="43331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9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6F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57535690"/>
                  </a:ext>
                </a:extLst>
              </a:tr>
            </a:tbl>
          </a:graphicData>
        </a:graphic>
      </p:graphicFrame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6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7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7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7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7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7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7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7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7.–</a:t>
                      </a:r>
                      <a:b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8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7/2021</a:t>
            </a:r>
          </a:p>
        </p:txBody>
      </p:sp>
      <p:sp>
        <p:nvSpPr>
          <p:cNvPr id="13" name="TextovéPole 9">
            <a:extLst>
              <a:ext uri="{FF2B5EF4-FFF2-40B4-BE49-F238E27FC236}">
                <a16:creationId xmlns:a16="http://schemas.microsoft.com/office/drawing/2014/main" id="{DE098226-558B-4478-A6B1-DD8F943D86E2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18437745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6A6BDA19-CED9-4AD8-A8D3-38CA86903F22}"/>
              </a:ext>
            </a:extLst>
          </p:cNvPr>
          <p:cNvGraphicFramePr>
            <a:graphicFrameLocks noGrp="1"/>
          </p:cNvGraphicFramePr>
          <p:nvPr/>
        </p:nvGraphicFramePr>
        <p:xfrm>
          <a:off x="7349384" y="5556199"/>
          <a:ext cx="4568082" cy="860988"/>
        </p:xfrm>
        <a:graphic>
          <a:graphicData uri="http://schemas.openxmlformats.org/drawingml/2006/table">
            <a:tbl>
              <a:tblPr/>
              <a:tblGrid>
                <a:gridCol w="761347">
                  <a:extLst>
                    <a:ext uri="{9D8B030D-6E8A-4147-A177-3AD203B41FA5}">
                      <a16:colId xmlns:a16="http://schemas.microsoft.com/office/drawing/2014/main" val="2801235750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1521341654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1138704475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76264964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1542629434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1107797777"/>
                    </a:ext>
                  </a:extLst>
                </a:gridCol>
              </a:tblGrid>
              <a:tr h="43049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70469714"/>
                  </a:ext>
                </a:extLst>
              </a:tr>
              <a:tr h="43049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E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3D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30957848"/>
                  </a:ext>
                </a:extLst>
              </a:tr>
            </a:tbl>
          </a:graphicData>
        </a:graphic>
      </p:graphicFrame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151777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3650229900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7.–</a:t>
                      </a:r>
                      <a:b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8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8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.8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.8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8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8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8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8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8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8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9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2" name="TextovéPole 9">
            <a:extLst>
              <a:ext uri="{FF2B5EF4-FFF2-40B4-BE49-F238E27FC236}">
                <a16:creationId xmlns:a16="http://schemas.microsoft.com/office/drawing/2014/main" id="{9910970A-6134-46AA-A364-9A0ADC5200D4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" name="Obdélník 13">
            <a:extLst>
              <a:ext uri="{FF2B5EF4-FFF2-40B4-BE49-F238E27FC236}">
                <a16:creationId xmlns:a16="http://schemas.microsoft.com/office/drawing/2014/main" id="{137FC5AF-3D58-42B1-95A2-2E248AB0A1A8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8/2021</a:t>
            </a:r>
          </a:p>
        </p:txBody>
      </p:sp>
    </p:spTree>
    <p:extLst>
      <p:ext uri="{BB962C8B-B14F-4D97-AF65-F5344CB8AC3E}">
        <p14:creationId xmlns:p14="http://schemas.microsoft.com/office/powerpoint/2010/main" val="2084607168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0566897C-047E-47E5-B3A3-E78E699656D0}"/>
              </a:ext>
            </a:extLst>
          </p:cNvPr>
          <p:cNvGraphicFramePr>
            <a:graphicFrameLocks noGrp="1"/>
          </p:cNvGraphicFramePr>
          <p:nvPr/>
        </p:nvGraphicFramePr>
        <p:xfrm>
          <a:off x="7353300" y="5543019"/>
          <a:ext cx="4564170" cy="874168"/>
        </p:xfrm>
        <a:graphic>
          <a:graphicData uri="http://schemas.openxmlformats.org/drawingml/2006/table">
            <a:tbl>
              <a:tblPr/>
              <a:tblGrid>
                <a:gridCol w="912834">
                  <a:extLst>
                    <a:ext uri="{9D8B030D-6E8A-4147-A177-3AD203B41FA5}">
                      <a16:colId xmlns:a16="http://schemas.microsoft.com/office/drawing/2014/main" val="3584185101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3346526545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3768973588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3216236221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3809614840"/>
                    </a:ext>
                  </a:extLst>
                </a:gridCol>
              </a:tblGrid>
              <a:tr h="43708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43491470"/>
                  </a:ext>
                </a:extLst>
              </a:tr>
              <a:tr h="43708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0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9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3F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5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47683163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2" name="TextovéPole 9">
            <a:extLst>
              <a:ext uri="{FF2B5EF4-FFF2-40B4-BE49-F238E27FC236}">
                <a16:creationId xmlns:a16="http://schemas.microsoft.com/office/drawing/2014/main" id="{9910970A-6134-46AA-A364-9A0ADC5200D4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" name="Obdélník 13">
            <a:extLst>
              <a:ext uri="{FF2B5EF4-FFF2-40B4-BE49-F238E27FC236}">
                <a16:creationId xmlns:a16="http://schemas.microsoft.com/office/drawing/2014/main" id="{137FC5AF-3D58-42B1-95A2-2E248AB0A1A8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9/2021</a:t>
            </a:r>
          </a:p>
        </p:txBody>
      </p:sp>
      <p:graphicFrame>
        <p:nvGraphicFramePr>
          <p:cNvPr id="13" name="Tabulka 10">
            <a:extLst>
              <a:ext uri="{FF2B5EF4-FFF2-40B4-BE49-F238E27FC236}">
                <a16:creationId xmlns:a16="http://schemas.microsoft.com/office/drawing/2014/main" id="{6A4A82EA-5F54-4BD2-BE9A-FF154B022139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8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9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9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9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9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9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9.–</a:t>
                      </a:r>
                      <a:b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9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9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10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graphicFrame>
        <p:nvGraphicFramePr>
          <p:cNvPr id="20" name="Graf 12">
            <a:extLst>
              <a:ext uri="{FF2B5EF4-FFF2-40B4-BE49-F238E27FC236}">
                <a16:creationId xmlns:a16="http://schemas.microsoft.com/office/drawing/2014/main" id="{EA20B1AB-DE43-4B7C-AE0D-6A5E7DBD0F0C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1" name="Obdélník 13">
            <a:extLst>
              <a:ext uri="{FF2B5EF4-FFF2-40B4-BE49-F238E27FC236}">
                <a16:creationId xmlns:a16="http://schemas.microsoft.com/office/drawing/2014/main" id="{A12C1C2B-BD3A-4305-A1C6-09ECF2E29611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22" name="Tabulka 14">
            <a:extLst>
              <a:ext uri="{FF2B5EF4-FFF2-40B4-BE49-F238E27FC236}">
                <a16:creationId xmlns:a16="http://schemas.microsoft.com/office/drawing/2014/main" id="{183D5F84-1757-499F-A478-BF43D84BD07D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03409199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06EE2C37-338A-492C-9788-E31A89B746C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02802625"/>
              </p:ext>
            </p:extLst>
          </p:nvPr>
        </p:nvGraphicFramePr>
        <p:xfrm>
          <a:off x="7343774" y="5543019"/>
          <a:ext cx="4573695" cy="866620"/>
        </p:xfrm>
        <a:graphic>
          <a:graphicData uri="http://schemas.openxmlformats.org/drawingml/2006/table">
            <a:tbl>
              <a:tblPr/>
              <a:tblGrid>
                <a:gridCol w="914739">
                  <a:extLst>
                    <a:ext uri="{9D8B030D-6E8A-4147-A177-3AD203B41FA5}">
                      <a16:colId xmlns:a16="http://schemas.microsoft.com/office/drawing/2014/main" val="2232248336"/>
                    </a:ext>
                  </a:extLst>
                </a:gridCol>
                <a:gridCol w="914739">
                  <a:extLst>
                    <a:ext uri="{9D8B030D-6E8A-4147-A177-3AD203B41FA5}">
                      <a16:colId xmlns:a16="http://schemas.microsoft.com/office/drawing/2014/main" val="803164521"/>
                    </a:ext>
                  </a:extLst>
                </a:gridCol>
                <a:gridCol w="914739">
                  <a:extLst>
                    <a:ext uri="{9D8B030D-6E8A-4147-A177-3AD203B41FA5}">
                      <a16:colId xmlns:a16="http://schemas.microsoft.com/office/drawing/2014/main" val="3492686028"/>
                    </a:ext>
                  </a:extLst>
                </a:gridCol>
                <a:gridCol w="914739">
                  <a:extLst>
                    <a:ext uri="{9D8B030D-6E8A-4147-A177-3AD203B41FA5}">
                      <a16:colId xmlns:a16="http://schemas.microsoft.com/office/drawing/2014/main" val="3860026255"/>
                    </a:ext>
                  </a:extLst>
                </a:gridCol>
                <a:gridCol w="914739">
                  <a:extLst>
                    <a:ext uri="{9D8B030D-6E8A-4147-A177-3AD203B41FA5}">
                      <a16:colId xmlns:a16="http://schemas.microsoft.com/office/drawing/2014/main" val="3241218159"/>
                    </a:ext>
                  </a:extLst>
                </a:gridCol>
              </a:tblGrid>
              <a:tr h="43331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6672111"/>
                  </a:ext>
                </a:extLst>
              </a:tr>
              <a:tr h="43331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5E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E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EE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F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9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83565876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2" name="TextovéPole 9">
            <a:extLst>
              <a:ext uri="{FF2B5EF4-FFF2-40B4-BE49-F238E27FC236}">
                <a16:creationId xmlns:a16="http://schemas.microsoft.com/office/drawing/2014/main" id="{9910970A-6134-46AA-A364-9A0ADC5200D4}"/>
              </a:ext>
            </a:extLst>
          </p:cNvPr>
          <p:cNvSpPr txBox="1"/>
          <p:nvPr/>
        </p:nvSpPr>
        <p:spPr>
          <a:xfrm>
            <a:off x="8256495" y="6516527"/>
            <a:ext cx="383751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" name="Obdélník 13">
            <a:extLst>
              <a:ext uri="{FF2B5EF4-FFF2-40B4-BE49-F238E27FC236}">
                <a16:creationId xmlns:a16="http://schemas.microsoft.com/office/drawing/2014/main" id="{137FC5AF-3D58-42B1-95A2-2E248AB0A1A8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10/2021</a:t>
            </a:r>
          </a:p>
        </p:txBody>
      </p:sp>
      <p:graphicFrame>
        <p:nvGraphicFramePr>
          <p:cNvPr id="13" name="Tabulka 10">
            <a:extLst>
              <a:ext uri="{FF2B5EF4-FFF2-40B4-BE49-F238E27FC236}">
                <a16:creationId xmlns:a16="http://schemas.microsoft.com/office/drawing/2014/main" id="{6A4A82EA-5F54-4BD2-BE9A-FF154B02213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99898717"/>
              </p:ext>
            </p:extLst>
          </p:nvPr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9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10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10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10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10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10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10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10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10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10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graphicFrame>
        <p:nvGraphicFramePr>
          <p:cNvPr id="20" name="Graf 12">
            <a:extLst>
              <a:ext uri="{FF2B5EF4-FFF2-40B4-BE49-F238E27FC236}">
                <a16:creationId xmlns:a16="http://schemas.microsoft.com/office/drawing/2014/main" id="{EA20B1AB-DE43-4B7C-AE0D-6A5E7DBD0F0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251832104"/>
              </p:ext>
            </p:extLst>
          </p:nvPr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1" name="Obdélník 13">
            <a:extLst>
              <a:ext uri="{FF2B5EF4-FFF2-40B4-BE49-F238E27FC236}">
                <a16:creationId xmlns:a16="http://schemas.microsoft.com/office/drawing/2014/main" id="{A12C1C2B-BD3A-4305-A1C6-09ECF2E29611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22" name="Tabulka 14">
            <a:extLst>
              <a:ext uri="{FF2B5EF4-FFF2-40B4-BE49-F238E27FC236}">
                <a16:creationId xmlns:a16="http://schemas.microsoft.com/office/drawing/2014/main" id="{183D5F84-1757-499F-A478-BF43D84BD07D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12404923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57188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1. 1. – 7. 1. 2021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28F5E2B2-F309-45AF-8A83-D5361039864E}"/>
              </a:ext>
            </a:extLst>
          </p:cNvPr>
          <p:cNvGraphicFramePr>
            <a:graphicFrameLocks noGrp="1"/>
          </p:cNvGraphicFramePr>
          <p:nvPr/>
        </p:nvGraphicFramePr>
        <p:xfrm>
          <a:off x="1383705" y="1039890"/>
          <a:ext cx="9370019" cy="5334813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011204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197028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Datum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945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945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Název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9459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 dirty="0">
                          <a:effectLst/>
                        </a:rPr>
                        <a:t>Počet nakažených</a:t>
                      </a:r>
                      <a:endParaRPr lang="cs-CZ" sz="12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9459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Maleš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necura, Štěrbohol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u rybníka Víceměř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Centrin II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Mirovická, pav. A a B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04110444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ociální služby Běchov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4513081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Alzheimer Roztok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838795175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Na Dómském pahorku Litoměř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462101030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ZR Dukla Vejprt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67991597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 - Domov Dolní zámek Teplice n 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440887727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Sněženka Jesení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02498496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D Na Výsluní Hořov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211234864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ečovatelská služba Rakovní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04062620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iakonie Mysliboř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963975460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6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ečovatelské centrum Kamenická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15838417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6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Hvízdal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75201013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6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Máj České Budějov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35198256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6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D Proseč-Obořiště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191878674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6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na Liščině, Čtyřlíste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694584515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D Březové Hor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98533832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zheimer Home z.ú. Píse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80811730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 Máj České Budějovice , p.o.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650353681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-MSSS Marie Náchod II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331054987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Sokoln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932507058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inka Němčičk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242141701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družení Veleta - domov pro osoby se zdravotním postižení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324275720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UMORAVY20 K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657579133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VÁŽANY20 K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391244214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řístav, Frýdek-Míste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  <p:sp>
        <p:nvSpPr>
          <p:cNvPr id="7" name="TextovéPole 6">
            <a:extLst>
              <a:ext uri="{FF2B5EF4-FFF2-40B4-BE49-F238E27FC236}">
                <a16:creationId xmlns:a16="http://schemas.microsoft.com/office/drawing/2014/main" id="{9AE8B431-D698-44D7-B21C-AB8F1486EA46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44346260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580988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15. 1. – 14. 1. 2021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graphicFrame>
        <p:nvGraphicFramePr>
          <p:cNvPr id="7" name="Tabulka 6">
            <a:extLst>
              <a:ext uri="{FF2B5EF4-FFF2-40B4-BE49-F238E27FC236}">
                <a16:creationId xmlns:a16="http://schemas.microsoft.com/office/drawing/2014/main" id="{9FB16BE5-ABC7-48B8-8300-A2AB2039A214}"/>
              </a:ext>
            </a:extLst>
          </p:cNvPr>
          <p:cNvGraphicFramePr>
            <a:graphicFrameLocks noGrp="1"/>
          </p:cNvGraphicFramePr>
          <p:nvPr/>
        </p:nvGraphicFramePr>
        <p:xfrm>
          <a:off x="1383705" y="944641"/>
          <a:ext cx="9684753" cy="5547360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325938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169074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Datum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Název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Počet nakažených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ráněné byty Cerhen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S Pečky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ZP Zběšičky Duha Písek chráněné bydlení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odina24, Vila Vita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ům s pečovatelskou služnou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704110444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D Kyjovice (Opava)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24513081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D Osoblaha, Klášterní 3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838795175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, Krnov, Rooseveltova ul.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462101030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vězda Poděbrady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67991597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rmada spasy KV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440887727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Slunovrat, Ostrava-Přívoz, příspěvková organiza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902498496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D Slaný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4211234864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Světlo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504062620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důchodců Pohod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963975460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Odry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615838417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ráněné bydlení ARCHA - Nový Jičín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575201013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Dolní Cetno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035198256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CSS Odlochov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191878674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osoby se zdravotním postižením Zběšičky, Bernartice u Milevsk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694584515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K - Domov Na Stříbrném vrchu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098533832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aritní domovy Havlíčkův Brod, Humpolec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80811730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DUHA - Nový Jičín, Máchov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650353681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Nová Slunečn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402133201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Kralov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940126820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Harcov Liberec, o.p.s.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063820710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KV Bílá Vod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596178739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v Zahradách Zd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910998374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lunce všem Unhošť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242141701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P Lochov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961415545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matky Vojtěchy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715553487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nior dům Soběslav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391244214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min zámek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  <p:sp>
        <p:nvSpPr>
          <p:cNvPr id="9" name="TextovéPole 8">
            <a:extLst>
              <a:ext uri="{FF2B5EF4-FFF2-40B4-BE49-F238E27FC236}">
                <a16:creationId xmlns:a16="http://schemas.microsoft.com/office/drawing/2014/main" id="{667D330D-9FE5-49E1-ACFD-E4A842FA3467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94439644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09563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15. 1. – 21. 1. 2021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graphicFrame>
        <p:nvGraphicFramePr>
          <p:cNvPr id="7" name="Tabulka 6">
            <a:extLst>
              <a:ext uri="{FF2B5EF4-FFF2-40B4-BE49-F238E27FC236}">
                <a16:creationId xmlns:a16="http://schemas.microsoft.com/office/drawing/2014/main" id="{9FB16BE5-ABC7-48B8-8300-A2AB2039A214}"/>
              </a:ext>
            </a:extLst>
          </p:cNvPr>
          <p:cNvGraphicFramePr>
            <a:graphicFrameLocks noGrp="1"/>
          </p:cNvGraphicFramePr>
          <p:nvPr/>
        </p:nvGraphicFramePr>
        <p:xfrm>
          <a:off x="1383705" y="1049415"/>
          <a:ext cx="9684753" cy="5313276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325938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222276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Datum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Název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Počet nakažených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Hortenzie Bořanov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pl-P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 - Domovy Na Třešňovce II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SVKŘÍŽE21 K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BORŠICE21 U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ZPBARBORKA21 K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04110444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ADASENIOR s.r.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4513081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SOP10 DPS Zvonková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838795175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ellevue Vila Prague, Slaný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462101030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seniorů Kostelec nad Černými Les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67991597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Kurojed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440887727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P Rychnov 2 S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02498496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-DOZP Domovy Na Třešňov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211234864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Červený Vrc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04062620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Mládežnická Jirk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963975460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 - DD Police III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15838417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SS P2, J.Masaryk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75201013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Světlo, Drhovl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35198256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Modrý kám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191878674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Wágnerka Český Kruml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694584515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ZC Letin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98533832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důchodců Lipová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070273025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Chomut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538979625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PAČLAVICE20 K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972403894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KCH Charitní domov Město Albrechtice, Úzká 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  <p:sp>
        <p:nvSpPr>
          <p:cNvPr id="9" name="TextovéPole 8">
            <a:extLst>
              <a:ext uri="{FF2B5EF4-FFF2-40B4-BE49-F238E27FC236}">
                <a16:creationId xmlns:a16="http://schemas.microsoft.com/office/drawing/2014/main" id="{9EABA060-817D-4986-8BA1-491519C478A7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89068013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09563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22. 1. – 31. 1. 2021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graphicFrame>
        <p:nvGraphicFramePr>
          <p:cNvPr id="8" name="Tabulka 7">
            <a:extLst>
              <a:ext uri="{FF2B5EF4-FFF2-40B4-BE49-F238E27FC236}">
                <a16:creationId xmlns:a16="http://schemas.microsoft.com/office/drawing/2014/main" id="{A536D8CD-0538-4873-A4A6-1915ECCA6788}"/>
              </a:ext>
            </a:extLst>
          </p:cNvPr>
          <p:cNvGraphicFramePr>
            <a:graphicFrameLocks noGrp="1"/>
          </p:cNvGraphicFramePr>
          <p:nvPr/>
        </p:nvGraphicFramePr>
        <p:xfrm>
          <a:off x="1383705" y="1030365"/>
          <a:ext cx="9684753" cy="5218072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325938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22737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 dirty="0">
                          <a:effectLst/>
                        </a:rPr>
                        <a:t>Datum</a:t>
                      </a:r>
                      <a:endParaRPr lang="cs-CZ" sz="12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Název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Počet nakažených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neCura Kolí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Vrchlického Vejprt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Důchodců Ždírec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ZR ČČK Tepl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OC Janouchov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04110444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S Anima Čásla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4513081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seniorů Vojk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838795175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AGOM  Pňov-Předhrad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462101030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K - Domov V Podzámčí, Říhov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67991597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Humpolec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440887727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aritní dům Salvátor Krnov, M.Švabinského 10, Krn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02498496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ům s pečovatelskou službou Větrná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211234864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K - Farní charita R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04062620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Sedlčan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963975460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natorium Lotos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15838417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ZP Všeboř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75201013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Krásné Březn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35198256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neCura Štěrbohol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191878674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pl-P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U Anežky Benátky nad Jizerou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694584515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KP Kladn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98533832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Libníč a Centrum sociálních služeb Empati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80811730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Max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596178739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NECURA SENIORCENTRUM LIBEREC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  <p:sp>
        <p:nvSpPr>
          <p:cNvPr id="7" name="TextovéPole 6">
            <a:extLst>
              <a:ext uri="{FF2B5EF4-FFF2-40B4-BE49-F238E27FC236}">
                <a16:creationId xmlns:a16="http://schemas.microsoft.com/office/drawing/2014/main" id="{88086200-61E2-48BD-9BE8-7E58FE39E79B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47884694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09563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1. 2. – 7. 2. 2021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graphicFrame>
        <p:nvGraphicFramePr>
          <p:cNvPr id="8" name="Tabulka 7">
            <a:extLst>
              <a:ext uri="{FF2B5EF4-FFF2-40B4-BE49-F238E27FC236}">
                <a16:creationId xmlns:a16="http://schemas.microsoft.com/office/drawing/2014/main" id="{A536D8CD-0538-4873-A4A6-1915ECCA6788}"/>
              </a:ext>
            </a:extLst>
          </p:cNvPr>
          <p:cNvGraphicFramePr>
            <a:graphicFrameLocks noGrp="1"/>
          </p:cNvGraphicFramePr>
          <p:nvPr/>
        </p:nvGraphicFramePr>
        <p:xfrm>
          <a:off x="1383705" y="1030365"/>
          <a:ext cx="9684753" cy="5399007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325938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21453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Datum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Název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Počet nakažených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Novovysočanská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Pod Kavčí Skálou Říčan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ntrum sociálních služeb  Staroměstská České Budějov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D Milíčeves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Slezská Humanita, Orlová - Laz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04110444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D Čásla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4513081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důchodců Horní Planá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838795175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ontána - centrum sociálních služeb Hlučí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462101030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pl-P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Pod Skalou Mníšek p. Brd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67991597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lokánek Hostiv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440887727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SOP Vršovický zámeče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02498496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od Skalami Kurovod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211234864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Vraný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04062620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voneček Bylan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963975460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rkadie Tepl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15838417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dkrušnohorské domovy soc. služeb Dub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75201013"/>
                  </a:ext>
                </a:extLst>
              </a:tr>
              <a:tr h="40447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a centrum denních služeb Jablonec nad Nisou (Domovy pro osoby se zdravotním postižením – pro žen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35198256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K - DSS Skřivan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405869068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Pelhřim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191878674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Božice - DpS a DZR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694584515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Na Jaroš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98533832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Bažantn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40126820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Koniklecová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596178739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6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chlovice S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  <p:sp>
        <p:nvSpPr>
          <p:cNvPr id="7" name="TextovéPole 6">
            <a:extLst>
              <a:ext uri="{FF2B5EF4-FFF2-40B4-BE49-F238E27FC236}">
                <a16:creationId xmlns:a16="http://schemas.microsoft.com/office/drawing/2014/main" id="{7F70C8D4-8774-4E44-8C03-00FA24FACFDA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9245261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9DFCE333-DD33-471A-A080-C1020D2CEC7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53436908"/>
              </p:ext>
            </p:extLst>
          </p:nvPr>
        </p:nvGraphicFramePr>
        <p:xfrm>
          <a:off x="7428782" y="5737703"/>
          <a:ext cx="4564854" cy="731520"/>
        </p:xfrm>
        <a:graphic>
          <a:graphicData uri="http://schemas.openxmlformats.org/drawingml/2006/table">
            <a:tbl>
              <a:tblPr/>
              <a:tblGrid>
                <a:gridCol w="217374">
                  <a:extLst>
                    <a:ext uri="{9D8B030D-6E8A-4147-A177-3AD203B41FA5}">
                      <a16:colId xmlns:a16="http://schemas.microsoft.com/office/drawing/2014/main" val="1606895910"/>
                    </a:ext>
                  </a:extLst>
                </a:gridCol>
                <a:gridCol w="217374">
                  <a:extLst>
                    <a:ext uri="{9D8B030D-6E8A-4147-A177-3AD203B41FA5}">
                      <a16:colId xmlns:a16="http://schemas.microsoft.com/office/drawing/2014/main" val="3197457772"/>
                    </a:ext>
                  </a:extLst>
                </a:gridCol>
                <a:gridCol w="217374">
                  <a:extLst>
                    <a:ext uri="{9D8B030D-6E8A-4147-A177-3AD203B41FA5}">
                      <a16:colId xmlns:a16="http://schemas.microsoft.com/office/drawing/2014/main" val="1699733639"/>
                    </a:ext>
                  </a:extLst>
                </a:gridCol>
                <a:gridCol w="217374">
                  <a:extLst>
                    <a:ext uri="{9D8B030D-6E8A-4147-A177-3AD203B41FA5}">
                      <a16:colId xmlns:a16="http://schemas.microsoft.com/office/drawing/2014/main" val="1262199399"/>
                    </a:ext>
                  </a:extLst>
                </a:gridCol>
                <a:gridCol w="217374">
                  <a:extLst>
                    <a:ext uri="{9D8B030D-6E8A-4147-A177-3AD203B41FA5}">
                      <a16:colId xmlns:a16="http://schemas.microsoft.com/office/drawing/2014/main" val="1077950351"/>
                    </a:ext>
                  </a:extLst>
                </a:gridCol>
                <a:gridCol w="217374">
                  <a:extLst>
                    <a:ext uri="{9D8B030D-6E8A-4147-A177-3AD203B41FA5}">
                      <a16:colId xmlns:a16="http://schemas.microsoft.com/office/drawing/2014/main" val="801782003"/>
                    </a:ext>
                  </a:extLst>
                </a:gridCol>
                <a:gridCol w="217374">
                  <a:extLst>
                    <a:ext uri="{9D8B030D-6E8A-4147-A177-3AD203B41FA5}">
                      <a16:colId xmlns:a16="http://schemas.microsoft.com/office/drawing/2014/main" val="2883613182"/>
                    </a:ext>
                  </a:extLst>
                </a:gridCol>
                <a:gridCol w="217374">
                  <a:extLst>
                    <a:ext uri="{9D8B030D-6E8A-4147-A177-3AD203B41FA5}">
                      <a16:colId xmlns:a16="http://schemas.microsoft.com/office/drawing/2014/main" val="1217004336"/>
                    </a:ext>
                  </a:extLst>
                </a:gridCol>
                <a:gridCol w="217374">
                  <a:extLst>
                    <a:ext uri="{9D8B030D-6E8A-4147-A177-3AD203B41FA5}">
                      <a16:colId xmlns:a16="http://schemas.microsoft.com/office/drawing/2014/main" val="3103179366"/>
                    </a:ext>
                  </a:extLst>
                </a:gridCol>
                <a:gridCol w="217374">
                  <a:extLst>
                    <a:ext uri="{9D8B030D-6E8A-4147-A177-3AD203B41FA5}">
                      <a16:colId xmlns:a16="http://schemas.microsoft.com/office/drawing/2014/main" val="1017634166"/>
                    </a:ext>
                  </a:extLst>
                </a:gridCol>
                <a:gridCol w="217374">
                  <a:extLst>
                    <a:ext uri="{9D8B030D-6E8A-4147-A177-3AD203B41FA5}">
                      <a16:colId xmlns:a16="http://schemas.microsoft.com/office/drawing/2014/main" val="2960936467"/>
                    </a:ext>
                  </a:extLst>
                </a:gridCol>
                <a:gridCol w="217374">
                  <a:extLst>
                    <a:ext uri="{9D8B030D-6E8A-4147-A177-3AD203B41FA5}">
                      <a16:colId xmlns:a16="http://schemas.microsoft.com/office/drawing/2014/main" val="826836955"/>
                    </a:ext>
                  </a:extLst>
                </a:gridCol>
                <a:gridCol w="217374">
                  <a:extLst>
                    <a:ext uri="{9D8B030D-6E8A-4147-A177-3AD203B41FA5}">
                      <a16:colId xmlns:a16="http://schemas.microsoft.com/office/drawing/2014/main" val="117836296"/>
                    </a:ext>
                  </a:extLst>
                </a:gridCol>
                <a:gridCol w="217374">
                  <a:extLst>
                    <a:ext uri="{9D8B030D-6E8A-4147-A177-3AD203B41FA5}">
                      <a16:colId xmlns:a16="http://schemas.microsoft.com/office/drawing/2014/main" val="3498630101"/>
                    </a:ext>
                  </a:extLst>
                </a:gridCol>
                <a:gridCol w="217374">
                  <a:extLst>
                    <a:ext uri="{9D8B030D-6E8A-4147-A177-3AD203B41FA5}">
                      <a16:colId xmlns:a16="http://schemas.microsoft.com/office/drawing/2014/main" val="1159245201"/>
                    </a:ext>
                  </a:extLst>
                </a:gridCol>
                <a:gridCol w="217374">
                  <a:extLst>
                    <a:ext uri="{9D8B030D-6E8A-4147-A177-3AD203B41FA5}">
                      <a16:colId xmlns:a16="http://schemas.microsoft.com/office/drawing/2014/main" val="1836410927"/>
                    </a:ext>
                  </a:extLst>
                </a:gridCol>
                <a:gridCol w="217374">
                  <a:extLst>
                    <a:ext uri="{9D8B030D-6E8A-4147-A177-3AD203B41FA5}">
                      <a16:colId xmlns:a16="http://schemas.microsoft.com/office/drawing/2014/main" val="456175825"/>
                    </a:ext>
                  </a:extLst>
                </a:gridCol>
                <a:gridCol w="217374">
                  <a:extLst>
                    <a:ext uri="{9D8B030D-6E8A-4147-A177-3AD203B41FA5}">
                      <a16:colId xmlns:a16="http://schemas.microsoft.com/office/drawing/2014/main" val="1221065556"/>
                    </a:ext>
                  </a:extLst>
                </a:gridCol>
                <a:gridCol w="217374">
                  <a:extLst>
                    <a:ext uri="{9D8B030D-6E8A-4147-A177-3AD203B41FA5}">
                      <a16:colId xmlns:a16="http://schemas.microsoft.com/office/drawing/2014/main" val="2815541060"/>
                    </a:ext>
                  </a:extLst>
                </a:gridCol>
                <a:gridCol w="217374">
                  <a:extLst>
                    <a:ext uri="{9D8B030D-6E8A-4147-A177-3AD203B41FA5}">
                      <a16:colId xmlns:a16="http://schemas.microsoft.com/office/drawing/2014/main" val="383711965"/>
                    </a:ext>
                  </a:extLst>
                </a:gridCol>
                <a:gridCol w="217374">
                  <a:extLst>
                    <a:ext uri="{9D8B030D-6E8A-4147-A177-3AD203B41FA5}">
                      <a16:colId xmlns:a16="http://schemas.microsoft.com/office/drawing/2014/main" val="1048648757"/>
                    </a:ext>
                  </a:extLst>
                </a:gridCol>
              </a:tblGrid>
              <a:tr h="36576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4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7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4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8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69743138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,0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,0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BC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4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3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,5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2D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,1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7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,5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7F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,5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39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,2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49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,9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EB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,1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6B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,3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5D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6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B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6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9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5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0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BF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0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,3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1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4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,9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3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,0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FE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7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6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15059692"/>
                  </a:ext>
                </a:extLst>
              </a:tr>
            </a:tbl>
          </a:graphicData>
        </a:graphic>
      </p:graphicFrame>
      <p:sp>
        <p:nvSpPr>
          <p:cNvPr id="13" name="TextovéPole 9">
            <a:extLst>
              <a:ext uri="{FF2B5EF4-FFF2-40B4-BE49-F238E27FC236}">
                <a16:creationId xmlns:a16="http://schemas.microsoft.com/office/drawing/2014/main" id="{6A22C561-33A4-44DE-8060-C4F3B9EB1921}"/>
              </a:ext>
            </a:extLst>
          </p:cNvPr>
          <p:cNvSpPr txBox="1"/>
          <p:nvPr/>
        </p:nvSpPr>
        <p:spPr>
          <a:xfrm>
            <a:off x="8343901" y="6516527"/>
            <a:ext cx="375011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200" dirty="0"/>
              <a:t>Zdroj: </a:t>
            </a:r>
            <a:r>
              <a:rPr lang="cs-CZ" sz="1200" dirty="0" err="1"/>
              <a:t>Covid</a:t>
            </a:r>
            <a:r>
              <a:rPr lang="cs-CZ" sz="1200" dirty="0"/>
              <a:t> </a:t>
            </a:r>
            <a:r>
              <a:rPr lang="cs-CZ" sz="1200" dirty="0" err="1"/>
              <a:t>Forms</a:t>
            </a:r>
            <a:r>
              <a:rPr lang="cs-CZ" sz="1200" dirty="0"/>
              <a:t> – Události, </a:t>
            </a:r>
            <a:r>
              <a:rPr lang="cs-CZ" sz="1200" b="1" dirty="0">
                <a:solidFill>
                  <a:srgbClr val="C00000"/>
                </a:solidFill>
              </a:rPr>
              <a:t>stav k 15. 1. 2022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4" name="Obdélník 11">
            <a:extLst>
              <a:ext uri="{FF2B5EF4-FFF2-40B4-BE49-F238E27FC236}">
                <a16:creationId xmlns:a16="http://schemas.microsoft.com/office/drawing/2014/main" id="{38C2AC7A-9C23-4CCF-B20F-266DA9F7115E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90905" y="6522363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ctr"/>
            <a:r>
              <a:rPr lang="cs-CZ" sz="1400" dirty="0">
                <a:solidFill>
                  <a:srgbClr val="000000"/>
                </a:solidFill>
                <a:latin typeface="Calibri" panose="020F0502020204030204" pitchFamily="34" charset="0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Tabulka 14">
            <a:extLst>
              <a:ext uri="{FF2B5EF4-FFF2-40B4-BE49-F238E27FC236}">
                <a16:creationId xmlns:a16="http://schemas.microsoft.com/office/drawing/2014/main" id="{50CA38BC-195A-4265-A337-74D0D69A5132}"/>
              </a:ext>
            </a:extLst>
          </p:cNvPr>
          <p:cNvGraphicFramePr>
            <a:graphicFrameLocks noGrp="1"/>
          </p:cNvGraphicFramePr>
          <p:nvPr/>
        </p:nvGraphicFramePr>
        <p:xfrm>
          <a:off x="6600825" y="1314771"/>
          <a:ext cx="5393547" cy="365760"/>
        </p:xfrm>
        <a:graphic>
          <a:graphicData uri="http://schemas.openxmlformats.org/drawingml/2006/table">
            <a:tbl>
              <a:tblPr/>
              <a:tblGrid>
                <a:gridCol w="779182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9195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9195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9195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9195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9195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9195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9195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332878">
                <a:tc>
                  <a:txBody>
                    <a:bodyPr/>
                    <a:lstStyle/>
                    <a:p>
                      <a:pPr algn="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ůměr denně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graphicFrame>
        <p:nvGraphicFramePr>
          <p:cNvPr id="19" name="Graf 12">
            <a:extLst>
              <a:ext uri="{FF2B5EF4-FFF2-40B4-BE49-F238E27FC236}">
                <a16:creationId xmlns:a16="http://schemas.microsoft.com/office/drawing/2014/main" id="{72589205-FA3E-4546-869C-5462A9B69E6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820663759"/>
              </p:ext>
            </p:extLst>
          </p:nvPr>
        </p:nvGraphicFramePr>
        <p:xfrm>
          <a:off x="6895909" y="1703559"/>
          <a:ext cx="5215710" cy="395918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4" name="Obdélník 13">
            <a:extLst>
              <a:ext uri="{FF2B5EF4-FFF2-40B4-BE49-F238E27FC236}">
                <a16:creationId xmlns:a16="http://schemas.microsoft.com/office/drawing/2014/main" id="{0CBAB1B0-E713-42C3-B005-9F720593CBF2}"/>
              </a:ext>
            </a:extLst>
          </p:cNvPr>
          <p:cNvSpPr/>
          <p:nvPr/>
        </p:nvSpPr>
        <p:spPr>
          <a:xfrm>
            <a:off x="6986345" y="955453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25" name="Tabulka 14">
            <a:extLst>
              <a:ext uri="{FF2B5EF4-FFF2-40B4-BE49-F238E27FC236}">
                <a16:creationId xmlns:a16="http://schemas.microsoft.com/office/drawing/2014/main" id="{E3F2A5EE-FD0D-4E26-AEC0-D9CFDEEC1E60}"/>
              </a:ext>
            </a:extLst>
          </p:cNvPr>
          <p:cNvGraphicFramePr>
            <a:graphicFrameLocks noGrp="1"/>
          </p:cNvGraphicFramePr>
          <p:nvPr/>
        </p:nvGraphicFramePr>
        <p:xfrm>
          <a:off x="6686550" y="5737704"/>
          <a:ext cx="5307832" cy="731520"/>
        </p:xfrm>
        <a:graphic>
          <a:graphicData uri="http://schemas.openxmlformats.org/drawingml/2006/table">
            <a:tbl>
              <a:tblPr/>
              <a:tblGrid>
                <a:gridCol w="751112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2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2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2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6" name="Obdélník 13">
            <a:extLst>
              <a:ext uri="{FF2B5EF4-FFF2-40B4-BE49-F238E27FC236}">
                <a16:creationId xmlns:a16="http://schemas.microsoft.com/office/drawing/2014/main" id="{0ABA3511-66CD-4489-AF5A-F87C351FF89D}"/>
              </a:ext>
            </a:extLst>
          </p:cNvPr>
          <p:cNvSpPr/>
          <p:nvPr/>
        </p:nvSpPr>
        <p:spPr>
          <a:xfrm>
            <a:off x="190492" y="571917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5/2020 – 01/2022 k 15. 1.</a:t>
            </a:r>
          </a:p>
        </p:txBody>
      </p:sp>
      <p:sp>
        <p:nvSpPr>
          <p:cNvPr id="27" name="Obdélník 26">
            <a:extLst>
              <a:ext uri="{FF2B5EF4-FFF2-40B4-BE49-F238E27FC236}">
                <a16:creationId xmlns:a16="http://schemas.microsoft.com/office/drawing/2014/main" id="{7A17A29C-4F23-47B3-905B-F8299A2B9E6E}"/>
              </a:ext>
            </a:extLst>
          </p:cNvPr>
          <p:cNvSpPr/>
          <p:nvPr/>
        </p:nvSpPr>
        <p:spPr>
          <a:xfrm>
            <a:off x="11586584" y="5534255"/>
            <a:ext cx="561372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k 15. 1.</a:t>
            </a: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28" name="Tabulka 10">
            <a:extLst>
              <a:ext uri="{FF2B5EF4-FFF2-40B4-BE49-F238E27FC236}">
                <a16:creationId xmlns:a16="http://schemas.microsoft.com/office/drawing/2014/main" id="{0EE03235-90B5-4828-A095-CA13F72044C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91624497"/>
              </p:ext>
            </p:extLst>
          </p:nvPr>
        </p:nvGraphicFramePr>
        <p:xfrm>
          <a:off x="47625" y="989354"/>
          <a:ext cx="6437722" cy="5416275"/>
        </p:xfrm>
        <a:graphic>
          <a:graphicData uri="http://schemas.openxmlformats.org/drawingml/2006/table">
            <a:tbl>
              <a:tblPr/>
              <a:tblGrid>
                <a:gridCol w="546434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453176">
                  <a:extLst>
                    <a:ext uri="{9D8B030D-6E8A-4147-A177-3AD203B41FA5}">
                      <a16:colId xmlns:a16="http://schemas.microsoft.com/office/drawing/2014/main" val="2675377350"/>
                    </a:ext>
                  </a:extLst>
                </a:gridCol>
                <a:gridCol w="453176">
                  <a:extLst>
                    <a:ext uri="{9D8B030D-6E8A-4147-A177-3AD203B41FA5}">
                      <a16:colId xmlns:a16="http://schemas.microsoft.com/office/drawing/2014/main" val="1722521615"/>
                    </a:ext>
                  </a:extLst>
                </a:gridCol>
                <a:gridCol w="453176">
                  <a:extLst>
                    <a:ext uri="{9D8B030D-6E8A-4147-A177-3AD203B41FA5}">
                      <a16:colId xmlns:a16="http://schemas.microsoft.com/office/drawing/2014/main" val="1368621166"/>
                    </a:ext>
                  </a:extLst>
                </a:gridCol>
                <a:gridCol w="453176">
                  <a:extLst>
                    <a:ext uri="{9D8B030D-6E8A-4147-A177-3AD203B41FA5}">
                      <a16:colId xmlns:a16="http://schemas.microsoft.com/office/drawing/2014/main" val="2832739057"/>
                    </a:ext>
                  </a:extLst>
                </a:gridCol>
                <a:gridCol w="453176">
                  <a:extLst>
                    <a:ext uri="{9D8B030D-6E8A-4147-A177-3AD203B41FA5}">
                      <a16:colId xmlns:a16="http://schemas.microsoft.com/office/drawing/2014/main" val="1571506889"/>
                    </a:ext>
                  </a:extLst>
                </a:gridCol>
                <a:gridCol w="453176">
                  <a:extLst>
                    <a:ext uri="{9D8B030D-6E8A-4147-A177-3AD203B41FA5}">
                      <a16:colId xmlns:a16="http://schemas.microsoft.com/office/drawing/2014/main" val="1159134526"/>
                    </a:ext>
                  </a:extLst>
                </a:gridCol>
                <a:gridCol w="453176">
                  <a:extLst>
                    <a:ext uri="{9D8B030D-6E8A-4147-A177-3AD203B41FA5}">
                      <a16:colId xmlns:a16="http://schemas.microsoft.com/office/drawing/2014/main" val="2805932271"/>
                    </a:ext>
                  </a:extLst>
                </a:gridCol>
                <a:gridCol w="453176">
                  <a:extLst>
                    <a:ext uri="{9D8B030D-6E8A-4147-A177-3AD203B41FA5}">
                      <a16:colId xmlns:a16="http://schemas.microsoft.com/office/drawing/2014/main" val="2944690473"/>
                    </a:ext>
                  </a:extLst>
                </a:gridCol>
                <a:gridCol w="453176">
                  <a:extLst>
                    <a:ext uri="{9D8B030D-6E8A-4147-A177-3AD203B41FA5}">
                      <a16:colId xmlns:a16="http://schemas.microsoft.com/office/drawing/2014/main" val="650913940"/>
                    </a:ext>
                  </a:extLst>
                </a:gridCol>
                <a:gridCol w="453176">
                  <a:extLst>
                    <a:ext uri="{9D8B030D-6E8A-4147-A177-3AD203B41FA5}">
                      <a16:colId xmlns:a16="http://schemas.microsoft.com/office/drawing/2014/main" val="274616259"/>
                    </a:ext>
                  </a:extLst>
                </a:gridCol>
                <a:gridCol w="453176">
                  <a:extLst>
                    <a:ext uri="{9D8B030D-6E8A-4147-A177-3AD203B41FA5}">
                      <a16:colId xmlns:a16="http://schemas.microsoft.com/office/drawing/2014/main" val="121507709"/>
                    </a:ext>
                  </a:extLst>
                </a:gridCol>
                <a:gridCol w="453176">
                  <a:extLst>
                    <a:ext uri="{9D8B030D-6E8A-4147-A177-3AD203B41FA5}">
                      <a16:colId xmlns:a16="http://schemas.microsoft.com/office/drawing/2014/main" val="4084179970"/>
                    </a:ext>
                  </a:extLst>
                </a:gridCol>
                <a:gridCol w="453176">
                  <a:extLst>
                    <a:ext uri="{9D8B030D-6E8A-4147-A177-3AD203B41FA5}">
                      <a16:colId xmlns:a16="http://schemas.microsoft.com/office/drawing/2014/main" val="459635882"/>
                    </a:ext>
                  </a:extLst>
                </a:gridCol>
              </a:tblGrid>
              <a:tr h="664991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r>
                        <a:rPr lang="cs-C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</a:t>
                      </a:r>
                      <a:r>
                        <a:rPr lang="cs-CZ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Počet clusterů)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/ 20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/ 20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/ 20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/ 20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/ 20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6/ 20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/ 20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/ 20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/ 20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/ 20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/ 20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/ 20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/ 2022</a:t>
                      </a: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 15. 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34239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HA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0 (1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3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7 (1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34546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C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9 (2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8 (1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6 (1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9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34239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HC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3 (1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9 (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3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845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K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8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34239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VK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1 (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3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845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LK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0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4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7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845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BK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3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34546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KK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0 (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0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845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K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845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YS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3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1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34546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MK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5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845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K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1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845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K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7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34546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SK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5 (1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5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34546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40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00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68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5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5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2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5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3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9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4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</a:t>
                      </a:r>
                      <a:b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graphicFrame>
        <p:nvGraphicFramePr>
          <p:cNvPr id="8" name="Tabulka 7">
            <a:extLst>
              <a:ext uri="{FF2B5EF4-FFF2-40B4-BE49-F238E27FC236}">
                <a16:creationId xmlns:a16="http://schemas.microsoft.com/office/drawing/2014/main" id="{63ED1944-9A78-4036-86FC-55DE3FA04D3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29941496"/>
              </p:ext>
            </p:extLst>
          </p:nvPr>
        </p:nvGraphicFramePr>
        <p:xfrm>
          <a:off x="7428782" y="1219781"/>
          <a:ext cx="4564854" cy="517639"/>
        </p:xfrm>
        <a:graphic>
          <a:graphicData uri="http://schemas.openxmlformats.org/drawingml/2006/table">
            <a:tbl>
              <a:tblPr/>
              <a:tblGrid>
                <a:gridCol w="217374">
                  <a:extLst>
                    <a:ext uri="{9D8B030D-6E8A-4147-A177-3AD203B41FA5}">
                      <a16:colId xmlns:a16="http://schemas.microsoft.com/office/drawing/2014/main" val="3751368335"/>
                    </a:ext>
                  </a:extLst>
                </a:gridCol>
                <a:gridCol w="217374">
                  <a:extLst>
                    <a:ext uri="{9D8B030D-6E8A-4147-A177-3AD203B41FA5}">
                      <a16:colId xmlns:a16="http://schemas.microsoft.com/office/drawing/2014/main" val="566710028"/>
                    </a:ext>
                  </a:extLst>
                </a:gridCol>
                <a:gridCol w="217374">
                  <a:extLst>
                    <a:ext uri="{9D8B030D-6E8A-4147-A177-3AD203B41FA5}">
                      <a16:colId xmlns:a16="http://schemas.microsoft.com/office/drawing/2014/main" val="1056843661"/>
                    </a:ext>
                  </a:extLst>
                </a:gridCol>
                <a:gridCol w="217374">
                  <a:extLst>
                    <a:ext uri="{9D8B030D-6E8A-4147-A177-3AD203B41FA5}">
                      <a16:colId xmlns:a16="http://schemas.microsoft.com/office/drawing/2014/main" val="2878325879"/>
                    </a:ext>
                  </a:extLst>
                </a:gridCol>
                <a:gridCol w="217374">
                  <a:extLst>
                    <a:ext uri="{9D8B030D-6E8A-4147-A177-3AD203B41FA5}">
                      <a16:colId xmlns:a16="http://schemas.microsoft.com/office/drawing/2014/main" val="2048185369"/>
                    </a:ext>
                  </a:extLst>
                </a:gridCol>
                <a:gridCol w="217374">
                  <a:extLst>
                    <a:ext uri="{9D8B030D-6E8A-4147-A177-3AD203B41FA5}">
                      <a16:colId xmlns:a16="http://schemas.microsoft.com/office/drawing/2014/main" val="625704308"/>
                    </a:ext>
                  </a:extLst>
                </a:gridCol>
                <a:gridCol w="217374">
                  <a:extLst>
                    <a:ext uri="{9D8B030D-6E8A-4147-A177-3AD203B41FA5}">
                      <a16:colId xmlns:a16="http://schemas.microsoft.com/office/drawing/2014/main" val="3355734836"/>
                    </a:ext>
                  </a:extLst>
                </a:gridCol>
                <a:gridCol w="217374">
                  <a:extLst>
                    <a:ext uri="{9D8B030D-6E8A-4147-A177-3AD203B41FA5}">
                      <a16:colId xmlns:a16="http://schemas.microsoft.com/office/drawing/2014/main" val="775194455"/>
                    </a:ext>
                  </a:extLst>
                </a:gridCol>
                <a:gridCol w="217374">
                  <a:extLst>
                    <a:ext uri="{9D8B030D-6E8A-4147-A177-3AD203B41FA5}">
                      <a16:colId xmlns:a16="http://schemas.microsoft.com/office/drawing/2014/main" val="3600728382"/>
                    </a:ext>
                  </a:extLst>
                </a:gridCol>
                <a:gridCol w="217374">
                  <a:extLst>
                    <a:ext uri="{9D8B030D-6E8A-4147-A177-3AD203B41FA5}">
                      <a16:colId xmlns:a16="http://schemas.microsoft.com/office/drawing/2014/main" val="174675715"/>
                    </a:ext>
                  </a:extLst>
                </a:gridCol>
                <a:gridCol w="217374">
                  <a:extLst>
                    <a:ext uri="{9D8B030D-6E8A-4147-A177-3AD203B41FA5}">
                      <a16:colId xmlns:a16="http://schemas.microsoft.com/office/drawing/2014/main" val="2660353175"/>
                    </a:ext>
                  </a:extLst>
                </a:gridCol>
                <a:gridCol w="217374">
                  <a:extLst>
                    <a:ext uri="{9D8B030D-6E8A-4147-A177-3AD203B41FA5}">
                      <a16:colId xmlns:a16="http://schemas.microsoft.com/office/drawing/2014/main" val="2843302648"/>
                    </a:ext>
                  </a:extLst>
                </a:gridCol>
                <a:gridCol w="217374">
                  <a:extLst>
                    <a:ext uri="{9D8B030D-6E8A-4147-A177-3AD203B41FA5}">
                      <a16:colId xmlns:a16="http://schemas.microsoft.com/office/drawing/2014/main" val="4244262610"/>
                    </a:ext>
                  </a:extLst>
                </a:gridCol>
                <a:gridCol w="217374">
                  <a:extLst>
                    <a:ext uri="{9D8B030D-6E8A-4147-A177-3AD203B41FA5}">
                      <a16:colId xmlns:a16="http://schemas.microsoft.com/office/drawing/2014/main" val="1624271492"/>
                    </a:ext>
                  </a:extLst>
                </a:gridCol>
                <a:gridCol w="217374">
                  <a:extLst>
                    <a:ext uri="{9D8B030D-6E8A-4147-A177-3AD203B41FA5}">
                      <a16:colId xmlns:a16="http://schemas.microsoft.com/office/drawing/2014/main" val="79196958"/>
                    </a:ext>
                  </a:extLst>
                </a:gridCol>
                <a:gridCol w="217374">
                  <a:extLst>
                    <a:ext uri="{9D8B030D-6E8A-4147-A177-3AD203B41FA5}">
                      <a16:colId xmlns:a16="http://schemas.microsoft.com/office/drawing/2014/main" val="1533592442"/>
                    </a:ext>
                  </a:extLst>
                </a:gridCol>
                <a:gridCol w="217374">
                  <a:extLst>
                    <a:ext uri="{9D8B030D-6E8A-4147-A177-3AD203B41FA5}">
                      <a16:colId xmlns:a16="http://schemas.microsoft.com/office/drawing/2014/main" val="2913378302"/>
                    </a:ext>
                  </a:extLst>
                </a:gridCol>
                <a:gridCol w="217374">
                  <a:extLst>
                    <a:ext uri="{9D8B030D-6E8A-4147-A177-3AD203B41FA5}">
                      <a16:colId xmlns:a16="http://schemas.microsoft.com/office/drawing/2014/main" val="580263538"/>
                    </a:ext>
                  </a:extLst>
                </a:gridCol>
                <a:gridCol w="217374">
                  <a:extLst>
                    <a:ext uri="{9D8B030D-6E8A-4147-A177-3AD203B41FA5}">
                      <a16:colId xmlns:a16="http://schemas.microsoft.com/office/drawing/2014/main" val="674684720"/>
                    </a:ext>
                  </a:extLst>
                </a:gridCol>
                <a:gridCol w="217374">
                  <a:extLst>
                    <a:ext uri="{9D8B030D-6E8A-4147-A177-3AD203B41FA5}">
                      <a16:colId xmlns:a16="http://schemas.microsoft.com/office/drawing/2014/main" val="1919923383"/>
                    </a:ext>
                  </a:extLst>
                </a:gridCol>
                <a:gridCol w="217374">
                  <a:extLst>
                    <a:ext uri="{9D8B030D-6E8A-4147-A177-3AD203B41FA5}">
                      <a16:colId xmlns:a16="http://schemas.microsoft.com/office/drawing/2014/main" val="3666594402"/>
                    </a:ext>
                  </a:extLst>
                </a:gridCol>
              </a:tblGrid>
              <a:tr h="100280"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22715766"/>
                  </a:ext>
                </a:extLst>
              </a:tr>
              <a:tr h="41735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5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BF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8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BF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6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BF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,7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9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,5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B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2,7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9,4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79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8,0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7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7,7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AC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,3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EE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,2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E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5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AF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7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2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3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3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1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BF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,9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AF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,5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2F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,0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4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3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AF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287344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40688602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09563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8. 2. – 17. 2. 2021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graphicFrame>
        <p:nvGraphicFramePr>
          <p:cNvPr id="8" name="Tabulka 7">
            <a:extLst>
              <a:ext uri="{FF2B5EF4-FFF2-40B4-BE49-F238E27FC236}">
                <a16:creationId xmlns:a16="http://schemas.microsoft.com/office/drawing/2014/main" id="{A536D8CD-0538-4873-A4A6-1915ECCA6788}"/>
              </a:ext>
            </a:extLst>
          </p:cNvPr>
          <p:cNvGraphicFramePr>
            <a:graphicFrameLocks noGrp="1"/>
          </p:cNvGraphicFramePr>
          <p:nvPr/>
        </p:nvGraphicFramePr>
        <p:xfrm>
          <a:off x="1383705" y="982740"/>
          <a:ext cx="9684753" cy="5482473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325938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229353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Datum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 dirty="0">
                          <a:effectLst/>
                        </a:rPr>
                        <a:t>Název</a:t>
                      </a:r>
                      <a:endParaRPr lang="cs-CZ" sz="12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Počet nakažených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Na Zátiší Rakovní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Svojš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nior Haus Vacov, s.r.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K - SC Nechanice 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K - DpS Borohráde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04110444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aritní dům pro seniory Hnojní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4513081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Oáza Stars Lužná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838795175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K - Domov Dědina České Meziříč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462101030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ZR Pohoda Dolní Domaslav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67991597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SS Tlosk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440887727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K - ÚSP Domečky 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02498496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Hvězd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770041770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ZP Bystř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40245440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PS Frantiskovy Lazne C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39650786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ah Jireh C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69391190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rianska 2 K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668362536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Černovice-Lidmaň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58608945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Borová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211234864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-centrum Hodonín, p.o.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04062620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Březn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650353681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okus Liberec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193340608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niorcentrum OAS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402133201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ový dům sv. Terezie, P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69568470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y s pečovatelskou službou F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  <p:sp>
        <p:nvSpPr>
          <p:cNvPr id="7" name="TextovéPole 6">
            <a:extLst>
              <a:ext uri="{FF2B5EF4-FFF2-40B4-BE49-F238E27FC236}">
                <a16:creationId xmlns:a16="http://schemas.microsoft.com/office/drawing/2014/main" id="{7F70C8D4-8774-4E44-8C03-00FA24FACFDA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64030573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09563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18. 2. – 28. 2. 2021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7F70C8D4-8774-4E44-8C03-00FA24FACFDA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9" name="Tabulka 8">
            <a:extLst>
              <a:ext uri="{FF2B5EF4-FFF2-40B4-BE49-F238E27FC236}">
                <a16:creationId xmlns:a16="http://schemas.microsoft.com/office/drawing/2014/main" id="{AFF2C759-F814-4407-BA8B-625101FFEFF0}"/>
              </a:ext>
            </a:extLst>
          </p:cNvPr>
          <p:cNvGraphicFramePr>
            <a:graphicFrameLocks noGrp="1"/>
          </p:cNvGraphicFramePr>
          <p:nvPr/>
        </p:nvGraphicFramePr>
        <p:xfrm>
          <a:off x="1372685" y="1236412"/>
          <a:ext cx="9684753" cy="4180985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325938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256985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Datum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Název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Počet nakažených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rmáda spás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ORIZONT - DOZP pro mentálně postižené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P Beneš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iakonie ČCE Píse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nichov C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04110444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okolik S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4513081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Vroute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838795175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ZR Krásná Líp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462101030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ZR Srdce v dlaních Filip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67991597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zheimer Home Pyšel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440887727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 - DD Náchod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02498496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a DZR Dřevčický Par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211234864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ový dům SÁRA Třinec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04062620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ynzvart C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963975460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kalka 2 C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191878674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epelska C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87293931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09563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1. 3. – 17. 3. 2021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7F70C8D4-8774-4E44-8C03-00FA24FACFDA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9" name="Tabulka 8">
            <a:extLst>
              <a:ext uri="{FF2B5EF4-FFF2-40B4-BE49-F238E27FC236}">
                <a16:creationId xmlns:a16="http://schemas.microsoft.com/office/drawing/2014/main" id="{AFF2C759-F814-4407-BA8B-625101FFEFF0}"/>
              </a:ext>
            </a:extLst>
          </p:cNvPr>
          <p:cNvGraphicFramePr>
            <a:graphicFrameLocks noGrp="1"/>
          </p:cNvGraphicFramePr>
          <p:nvPr/>
        </p:nvGraphicFramePr>
        <p:xfrm>
          <a:off x="1372685" y="986199"/>
          <a:ext cx="9684753" cy="5424133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325938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215083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Datum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Název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Počet nakažených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utiscentrum o.p.s.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 - BETANIE II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rmáda spásy v České republice, z. s.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ům s pečovatelskou službou P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incentinum Šumper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04110444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aritní domov Mendryk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4513081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AHRADAKM 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838795175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6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PS As C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462101030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esle Františka Malíka Most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67991597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ahrada Kladn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440887727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S Litvínov Janov II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02498496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Bojčenkov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211234864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ový dům Kladn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04062620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POSS Liberec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946021753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ntrum služeb pro seniory Kyjov,p.o.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30896953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Jedovn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464199491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ům s pečovatelskou službou Hladnovská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873470641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iakonie Libice n. C.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105652601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K - Domov Arreta 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304339379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LUKOV21 ZL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664322866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Krajánek Jesen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696448184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Hroznetin K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826192414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ový dům Most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963975460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ráněné bydlení v Kopřivnici - Domov NaNov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15838417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ový dům Beneš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7471358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09563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18. 3. – 31. 3. 2021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7F70C8D4-8774-4E44-8C03-00FA24FACFDA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8" name="Tabulka 7">
            <a:extLst>
              <a:ext uri="{FF2B5EF4-FFF2-40B4-BE49-F238E27FC236}">
                <a16:creationId xmlns:a16="http://schemas.microsoft.com/office/drawing/2014/main" id="{079D213B-AFD8-441E-95CD-54620E25AEB5}"/>
              </a:ext>
            </a:extLst>
          </p:cNvPr>
          <p:cNvGraphicFramePr>
            <a:graphicFrameLocks noGrp="1"/>
          </p:cNvGraphicFramePr>
          <p:nvPr/>
        </p:nvGraphicFramePr>
        <p:xfrm>
          <a:off x="1372685" y="967151"/>
          <a:ext cx="9684753" cy="5547360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325938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166825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Datum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Název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Počet nakažených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D Berounk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ový dům pro matky s dětmi Svaté rodiny Příbram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Fénix Horoměř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Horní Stropn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ZR Čtyřlístek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704110444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ový dům  sv. Pavla České Budějov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24513081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SS Staroměstská  České Budějov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838795175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ráněná dílna Avízo s.r.o Zliv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462101030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ový dům pro matky s dětmi Ludgeřov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67991597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ům s pečovatelskou službou Hradec nad Moravicí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440887727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ta CH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902498496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ZP Osek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4211234864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Brtníky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504062620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ům s pečovatelskou službou Nové Hrady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946021753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U Anežky Luštěn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30896953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ýdenní stacionář Srbeč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464199491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Světlo, Drhovl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873470641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K - DSS Chotělice 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105652601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Domino Zavidov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304339379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Hostomice - Zátor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664322866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ový dům pro matky s dětmi Ústí nad Labem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826192414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Velké Březno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4082563756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ANIT - domov pro seniory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491938733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Starý mlýn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840232789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oď Hermes -CSS Prah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856832181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Skal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86954665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P Snědov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135432856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zheimer centrum Písek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4194595737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ům klidného stáří Pravětín Vimperk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963975460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Břetislavov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615838417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P Rychnov 3 SO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575201013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 Erbenova, Hlinsko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1170979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09563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1. 4. – 31. 8. 2021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7F70C8D4-8774-4E44-8C03-00FA24FACFDA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9" name="Tabulka 8">
            <a:extLst>
              <a:ext uri="{FF2B5EF4-FFF2-40B4-BE49-F238E27FC236}">
                <a16:creationId xmlns:a16="http://schemas.microsoft.com/office/drawing/2014/main" id="{AFF2C759-F814-4407-BA8B-625101FFEFF0}"/>
              </a:ext>
            </a:extLst>
          </p:cNvPr>
          <p:cNvGraphicFramePr>
            <a:graphicFrameLocks noGrp="1"/>
          </p:cNvGraphicFramePr>
          <p:nvPr/>
        </p:nvGraphicFramePr>
        <p:xfrm>
          <a:off x="1372685" y="1026863"/>
          <a:ext cx="9684753" cy="5131888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325938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211624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 dirty="0">
                          <a:effectLst/>
                        </a:rPr>
                        <a:t>Datum</a:t>
                      </a:r>
                      <a:endParaRPr lang="cs-CZ" sz="12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Název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Počet nakažených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4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K - Domov Dědina Opočn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4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sychocentrum Domeček Hodoní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4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seniorů Tovačov-JAR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04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 Sedlec K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04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rianska 3 K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522887529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04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SP Žampac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722747539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4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SS Emauzy s.r.o Dobrá Voda u Českých Budějovic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053868139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4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rmáda spásy, Čsl. armády 837/36 bcd, Krnov 794 0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147237985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04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Žirafa Frýdek-Míste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079742434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04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iakonie Páte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812537225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04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ový dům pro matky s dětmi Zábře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00012644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04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U Pramene Loun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223725217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4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ový dům Samaritán Ústí nad Labe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04110444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04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Kobylá nad Vidnavkou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308504700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5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Dobět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91671982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5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Raspenava, p.o.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989785268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5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ový dům Sára Frýdek-Míste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6917040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05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SSP Máchova 14,P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71686775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05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Chroustov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698555041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.06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v Zahradách Zd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544934424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6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důchodců Velké Hamry , varianta alf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309912162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7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řístav Ostrava - Zukalov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99327727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07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seniorů Vlčí Pol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335431879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08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niorcentrum</a:t>
                      </a: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Svitav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20554021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09563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1. 9. – 31. 10. 2021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7F70C8D4-8774-4E44-8C03-00FA24FACFDA}"/>
              </a:ext>
            </a:extLst>
          </p:cNvPr>
          <p:cNvSpPr txBox="1"/>
          <p:nvPr/>
        </p:nvSpPr>
        <p:spPr>
          <a:xfrm>
            <a:off x="8283389" y="6516527"/>
            <a:ext cx="38106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9" name="Tabulka 8">
            <a:extLst>
              <a:ext uri="{FF2B5EF4-FFF2-40B4-BE49-F238E27FC236}">
                <a16:creationId xmlns:a16="http://schemas.microsoft.com/office/drawing/2014/main" id="{AFF2C759-F814-4407-BA8B-625101FFEF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23892388"/>
              </p:ext>
            </p:extLst>
          </p:nvPr>
        </p:nvGraphicFramePr>
        <p:xfrm>
          <a:off x="1372685" y="1026864"/>
          <a:ext cx="9684753" cy="5068685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325938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227167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 dirty="0">
                          <a:effectLst/>
                        </a:rPr>
                        <a:t>Datum</a:t>
                      </a:r>
                      <a:endParaRPr lang="cs-CZ" sz="12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Název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Počet nakažených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9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LUHAČOVICE21 ZL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9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ZR Hejnická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09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mo Chrudim, o.p.s - sociálně terapeutická díl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09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P3, Roháčova 2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09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Hnojní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522887529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09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SS Hrabyně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722747539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09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zheimer Home Jasmí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053868139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10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BEN - EZER Český Těší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147237985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6.10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ARITNÍDOMOVHLUK21 U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079742434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10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ZR Pyšel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100010272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10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ZP Zámek Břežan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9363377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10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Kamenec, Slezská Ostrav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674337671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10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U Rybníčku Žiž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218954418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10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Boskovice Mánesov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111979934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10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Šlejnická Praha 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524893605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10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Černovice-Lidmaň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162292099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10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Česká Kamen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31747304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10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ařízení sociální péče Choceň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449536561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10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Svaté rodiny Ulrychova Praha 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605830880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10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říbor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354488201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10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zké domy s.r.o Lovos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812537225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10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NECURA Chrudi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74475600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09563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1. 11. – 16. 11. 2021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7F70C8D4-8774-4E44-8C03-00FA24FACFDA}"/>
              </a:ext>
            </a:extLst>
          </p:cNvPr>
          <p:cNvSpPr txBox="1"/>
          <p:nvPr/>
        </p:nvSpPr>
        <p:spPr>
          <a:xfrm>
            <a:off x="8283389" y="6516527"/>
            <a:ext cx="38106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9" name="Tabulka 8">
            <a:extLst>
              <a:ext uri="{FF2B5EF4-FFF2-40B4-BE49-F238E27FC236}">
                <a16:creationId xmlns:a16="http://schemas.microsoft.com/office/drawing/2014/main" id="{AFF2C759-F814-4407-BA8B-625101FFEF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0202025"/>
              </p:ext>
            </p:extLst>
          </p:nvPr>
        </p:nvGraphicFramePr>
        <p:xfrm>
          <a:off x="1372685" y="1009673"/>
          <a:ext cx="9684753" cy="5238771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325938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206003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 dirty="0">
                          <a:effectLst/>
                        </a:rPr>
                        <a:t>Datum</a:t>
                      </a:r>
                      <a:endParaRPr lang="cs-CZ" sz="12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Název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Počet nakažených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ntrum Rožmitál p. Třemšíne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DN Oblouková, Praha 1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ntrum služeb pro seniory Kyjov, p.o.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704785789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zheimer Home Libeň, Praha 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104802914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Korýtko, příspěvková organiza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018100667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ONA chráněné bydlen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mpatie Chráněné bydlen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neCura SeniorCentrum Telč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522887529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IRIS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722747539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Krč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053868139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zheimercentrum  Zlosyň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147237985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nior-komplex Lužec nad Vltavou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079742434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 - SC Malá Čermná II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100010272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Komár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9363377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drý klíč o.p.s.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361807022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ům Naděje, Rybalkova Praha 1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134923974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Slaný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990337858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ům Naděje, K Prádelně, Praha 1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628174903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od Hrází Pečičk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60267598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Chod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80781992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ociální služby Semily,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38468394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iakonie ČCE Sobotí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85999739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Malešice, Praha 1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255810615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Nová Slunečn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702188933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Dědina Opočn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134549633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D Reynkov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19849747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051097BD-73E6-4BA2-91A9-E329A719FFB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10584393"/>
              </p:ext>
            </p:extLst>
          </p:nvPr>
        </p:nvGraphicFramePr>
        <p:xfrm>
          <a:off x="8685801" y="987423"/>
          <a:ext cx="886823" cy="5460980"/>
        </p:xfrm>
        <a:graphic>
          <a:graphicData uri="http://schemas.openxmlformats.org/drawingml/2006/table">
            <a:tbl>
              <a:tblPr/>
              <a:tblGrid>
                <a:gridCol w="886823">
                  <a:extLst>
                    <a:ext uri="{9D8B030D-6E8A-4147-A177-3AD203B41FA5}">
                      <a16:colId xmlns:a16="http://schemas.microsoft.com/office/drawing/2014/main" val="111910632"/>
                    </a:ext>
                  </a:extLst>
                </a:gridCol>
              </a:tblGrid>
              <a:tr h="195035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4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31953114"/>
                  </a:ext>
                </a:extLst>
              </a:tr>
              <a:tr h="195035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AF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2431802"/>
                  </a:ext>
                </a:extLst>
              </a:tr>
              <a:tr h="195035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6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36408175"/>
                  </a:ext>
                </a:extLst>
              </a:tr>
              <a:tr h="195035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EE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05342432"/>
                  </a:ext>
                </a:extLst>
              </a:tr>
              <a:tr h="195035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BE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85117854"/>
                  </a:ext>
                </a:extLst>
              </a:tr>
              <a:tr h="195035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8B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5550861"/>
                  </a:ext>
                </a:extLst>
              </a:tr>
              <a:tr h="195035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5F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7921373"/>
                  </a:ext>
                </a:extLst>
              </a:tr>
              <a:tr h="195035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7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553851"/>
                  </a:ext>
                </a:extLst>
              </a:tr>
              <a:tr h="195035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0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75809233"/>
                  </a:ext>
                </a:extLst>
              </a:tr>
              <a:tr h="195035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7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7004563"/>
                  </a:ext>
                </a:extLst>
              </a:tr>
              <a:tr h="195035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6F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2098165"/>
                  </a:ext>
                </a:extLst>
              </a:tr>
              <a:tr h="195035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9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49821352"/>
                  </a:ext>
                </a:extLst>
              </a:tr>
              <a:tr h="195035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F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49001152"/>
                  </a:ext>
                </a:extLst>
              </a:tr>
              <a:tr h="195035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1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38781250"/>
                  </a:ext>
                </a:extLst>
              </a:tr>
              <a:tr h="195035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30293211"/>
                  </a:ext>
                </a:extLst>
              </a:tr>
              <a:tr h="195035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9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3247656"/>
                  </a:ext>
                </a:extLst>
              </a:tr>
              <a:tr h="195035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9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09283115"/>
                  </a:ext>
                </a:extLst>
              </a:tr>
              <a:tr h="195035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4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0387725"/>
                  </a:ext>
                </a:extLst>
              </a:tr>
              <a:tr h="195035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5F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39449776"/>
                  </a:ext>
                </a:extLst>
              </a:tr>
              <a:tr h="195035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27420545"/>
                  </a:ext>
                </a:extLst>
              </a:tr>
              <a:tr h="195035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1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91761116"/>
                  </a:ext>
                </a:extLst>
              </a:tr>
              <a:tr h="195035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2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2021009"/>
                  </a:ext>
                </a:extLst>
              </a:tr>
              <a:tr h="195035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9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7359577"/>
                  </a:ext>
                </a:extLst>
              </a:tr>
              <a:tr h="195035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8F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16436575"/>
                  </a:ext>
                </a:extLst>
              </a:tr>
              <a:tr h="195035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AF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70981"/>
                  </a:ext>
                </a:extLst>
              </a:tr>
              <a:tr h="195035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AF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27375820"/>
                  </a:ext>
                </a:extLst>
              </a:tr>
              <a:tr h="195035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BF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59677646"/>
                  </a:ext>
                </a:extLst>
              </a:tr>
              <a:tr h="195035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BF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98175108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Události řešené od 1. října 2020 – celá ČR</a:t>
            </a:r>
          </a:p>
        </p:txBody>
      </p:sp>
      <p:sp>
        <p:nvSpPr>
          <p:cNvPr id="9" name="TextovéPole 8">
            <a:extLst>
              <a:ext uri="{FF2B5EF4-FFF2-40B4-BE49-F238E27FC236}">
                <a16:creationId xmlns:a16="http://schemas.microsoft.com/office/drawing/2014/main" id="{FBDD20AF-BD82-42FA-8ABC-E95927D22E06}"/>
              </a:ext>
            </a:extLst>
          </p:cNvPr>
          <p:cNvSpPr txBox="1"/>
          <p:nvPr/>
        </p:nvSpPr>
        <p:spPr>
          <a:xfrm>
            <a:off x="1885951" y="6516527"/>
            <a:ext cx="63722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, 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v k 15. 1. 2022</a:t>
            </a:r>
          </a:p>
        </p:txBody>
      </p:sp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0560C9FB-2949-4B26-B792-61AF25EF789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08831372"/>
              </p:ext>
            </p:extLst>
          </p:nvPr>
        </p:nvGraphicFramePr>
        <p:xfrm>
          <a:off x="1093233" y="762000"/>
          <a:ext cx="8958646" cy="5686417"/>
        </p:xfrm>
        <a:graphic>
          <a:graphicData uri="http://schemas.openxmlformats.org/drawingml/2006/table">
            <a:tbl>
              <a:tblPr/>
              <a:tblGrid>
                <a:gridCol w="3399790">
                  <a:extLst>
                    <a:ext uri="{9D8B030D-6E8A-4147-A177-3AD203B41FA5}">
                      <a16:colId xmlns:a16="http://schemas.microsoft.com/office/drawing/2014/main" val="203849754"/>
                    </a:ext>
                  </a:extLst>
                </a:gridCol>
                <a:gridCol w="1852952">
                  <a:extLst>
                    <a:ext uri="{9D8B030D-6E8A-4147-A177-3AD203B41FA5}">
                      <a16:colId xmlns:a16="http://schemas.microsoft.com/office/drawing/2014/main" val="582286152"/>
                    </a:ext>
                  </a:extLst>
                </a:gridCol>
                <a:gridCol w="1852952">
                  <a:extLst>
                    <a:ext uri="{9D8B030D-6E8A-4147-A177-3AD203B41FA5}">
                      <a16:colId xmlns:a16="http://schemas.microsoft.com/office/drawing/2014/main" val="1533981781"/>
                    </a:ext>
                  </a:extLst>
                </a:gridCol>
                <a:gridCol w="1852952">
                  <a:extLst>
                    <a:ext uri="{9D8B030D-6E8A-4147-A177-3AD203B41FA5}">
                      <a16:colId xmlns:a16="http://schemas.microsoft.com/office/drawing/2014/main" val="1571505390"/>
                    </a:ext>
                  </a:extLst>
                </a:gridCol>
              </a:tblGrid>
              <a:tr h="225913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yp události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nakažených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událost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událost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3593877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2 05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66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5736721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Školské zaříze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 37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43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30131732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Zařízení sociálních služeb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30 52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88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1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34,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31287213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dravotnické zaříze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81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07300411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ýrobní závod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34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78510886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ěznice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92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,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1537521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acoviště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05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98714489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ětské domovy/ústavy pro mladistvé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9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,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21173336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bytovac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4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,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44307753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rganizovaný a profesionální sport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,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1447061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ětský tábor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95977792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ncelář, úřad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14643755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ZS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54204550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rganizované a profesionální umělecké sbory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57271889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ornictv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9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9737953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licie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86092428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dejna, obchod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4549064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polečenská akce / klub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17324214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vatba / pohřeb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98683674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odinný výskyt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82525124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bčanská komunita/obec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32704925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jmové aktivity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27026929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tkání známých / příbuzných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10412420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rganizované společenské/rekreační/vzdělávací akce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3612133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Škole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29699426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stat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,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15191631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ravovac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,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08663673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írkev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4350621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55527795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8A7572F1-A3A9-4778-AC0A-1851ED588C2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68161858"/>
              </p:ext>
            </p:extLst>
          </p:nvPr>
        </p:nvGraphicFramePr>
        <p:xfrm>
          <a:off x="8677275" y="1159939"/>
          <a:ext cx="933450" cy="5288490"/>
        </p:xfrm>
        <a:graphic>
          <a:graphicData uri="http://schemas.openxmlformats.org/drawingml/2006/table">
            <a:tbl>
              <a:tblPr/>
              <a:tblGrid>
                <a:gridCol w="933450">
                  <a:extLst>
                    <a:ext uri="{9D8B030D-6E8A-4147-A177-3AD203B41FA5}">
                      <a16:colId xmlns:a16="http://schemas.microsoft.com/office/drawing/2014/main" val="708023879"/>
                    </a:ext>
                  </a:extLst>
                </a:gridCol>
              </a:tblGrid>
              <a:tr h="195870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5F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0199379"/>
                  </a:ext>
                </a:extLst>
              </a:tr>
              <a:tr h="195870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7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45963003"/>
                  </a:ext>
                </a:extLst>
              </a:tr>
              <a:tr h="195870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D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99857433"/>
                  </a:ext>
                </a:extLst>
              </a:tr>
              <a:tr h="195870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CE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3412175"/>
                  </a:ext>
                </a:extLst>
              </a:tr>
              <a:tr h="195870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CE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5090491"/>
                  </a:ext>
                </a:extLst>
              </a:tr>
              <a:tr h="195870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AB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58144017"/>
                  </a:ext>
                </a:extLst>
              </a:tr>
              <a:tr h="195870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3F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7305647"/>
                  </a:ext>
                </a:extLst>
              </a:tr>
              <a:tr h="195870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4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60715383"/>
                  </a:ext>
                </a:extLst>
              </a:tr>
              <a:tr h="195870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4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00216371"/>
                  </a:ext>
                </a:extLst>
              </a:tr>
              <a:tr h="195870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4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35155109"/>
                  </a:ext>
                </a:extLst>
              </a:tr>
              <a:tr h="195870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6F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15089552"/>
                  </a:ext>
                </a:extLst>
              </a:tr>
              <a:tr h="195870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7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98767581"/>
                  </a:ext>
                </a:extLst>
              </a:tr>
              <a:tr h="195870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2079539"/>
                  </a:ext>
                </a:extLst>
              </a:tr>
              <a:tr h="195870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6F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81682113"/>
                  </a:ext>
                </a:extLst>
              </a:tr>
              <a:tr h="195870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3F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2744217"/>
                  </a:ext>
                </a:extLst>
              </a:tr>
              <a:tr h="195870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AF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07727622"/>
                  </a:ext>
                </a:extLst>
              </a:tr>
              <a:tr h="195870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F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29682968"/>
                  </a:ext>
                </a:extLst>
              </a:tr>
              <a:tr h="195870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7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67736243"/>
                  </a:ext>
                </a:extLst>
              </a:tr>
              <a:tr h="195870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7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24381404"/>
                  </a:ext>
                </a:extLst>
              </a:tr>
              <a:tr h="195870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6F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8336952"/>
                  </a:ext>
                </a:extLst>
              </a:tr>
              <a:tr h="195870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7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10684313"/>
                  </a:ext>
                </a:extLst>
              </a:tr>
              <a:tr h="195870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AF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1338615"/>
                  </a:ext>
                </a:extLst>
              </a:tr>
              <a:tr h="195870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3F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47165472"/>
                  </a:ext>
                </a:extLst>
              </a:tr>
              <a:tr h="195870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AF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94007259"/>
                  </a:ext>
                </a:extLst>
              </a:tr>
              <a:tr h="195870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7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39830205"/>
                  </a:ext>
                </a:extLst>
              </a:tr>
              <a:tr h="195870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AF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60595847"/>
                  </a:ext>
                </a:extLst>
              </a:tr>
              <a:tr h="195870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25988379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Události řešené od 1. ledna 2021 – celá ČR</a:t>
            </a:r>
          </a:p>
        </p:txBody>
      </p:sp>
      <p:sp>
        <p:nvSpPr>
          <p:cNvPr id="9" name="TextovéPole 8">
            <a:extLst>
              <a:ext uri="{FF2B5EF4-FFF2-40B4-BE49-F238E27FC236}">
                <a16:creationId xmlns:a16="http://schemas.microsoft.com/office/drawing/2014/main" id="{FBDD20AF-BD82-42FA-8ABC-E95927D22E06}"/>
              </a:ext>
            </a:extLst>
          </p:cNvPr>
          <p:cNvSpPr txBox="1"/>
          <p:nvPr/>
        </p:nvSpPr>
        <p:spPr>
          <a:xfrm>
            <a:off x="1885951" y="6516527"/>
            <a:ext cx="63722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, 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v k 15. 1. 2022</a:t>
            </a:r>
          </a:p>
        </p:txBody>
      </p:sp>
      <p:graphicFrame>
        <p:nvGraphicFramePr>
          <p:cNvPr id="10" name="Tabulka 9">
            <a:extLst>
              <a:ext uri="{FF2B5EF4-FFF2-40B4-BE49-F238E27FC236}">
                <a16:creationId xmlns:a16="http://schemas.microsoft.com/office/drawing/2014/main" id="{68AE7B0F-05ED-4C12-89D3-29AC695716F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31806990"/>
              </p:ext>
            </p:extLst>
          </p:nvPr>
        </p:nvGraphicFramePr>
        <p:xfrm>
          <a:off x="1104900" y="718064"/>
          <a:ext cx="8958646" cy="5730352"/>
        </p:xfrm>
        <a:graphic>
          <a:graphicData uri="http://schemas.openxmlformats.org/drawingml/2006/table">
            <a:tbl>
              <a:tblPr/>
              <a:tblGrid>
                <a:gridCol w="3399790">
                  <a:extLst>
                    <a:ext uri="{9D8B030D-6E8A-4147-A177-3AD203B41FA5}">
                      <a16:colId xmlns:a16="http://schemas.microsoft.com/office/drawing/2014/main" val="203849754"/>
                    </a:ext>
                  </a:extLst>
                </a:gridCol>
                <a:gridCol w="1852952">
                  <a:extLst>
                    <a:ext uri="{9D8B030D-6E8A-4147-A177-3AD203B41FA5}">
                      <a16:colId xmlns:a16="http://schemas.microsoft.com/office/drawing/2014/main" val="582286152"/>
                    </a:ext>
                  </a:extLst>
                </a:gridCol>
                <a:gridCol w="1852952">
                  <a:extLst>
                    <a:ext uri="{9D8B030D-6E8A-4147-A177-3AD203B41FA5}">
                      <a16:colId xmlns:a16="http://schemas.microsoft.com/office/drawing/2014/main" val="1533981781"/>
                    </a:ext>
                  </a:extLst>
                </a:gridCol>
                <a:gridCol w="1852952">
                  <a:extLst>
                    <a:ext uri="{9D8B030D-6E8A-4147-A177-3AD203B41FA5}">
                      <a16:colId xmlns:a16="http://schemas.microsoft.com/office/drawing/2014/main" val="1571505390"/>
                    </a:ext>
                  </a:extLst>
                </a:gridCol>
              </a:tblGrid>
              <a:tr h="4411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yp události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nakažených</a:t>
                      </a:r>
                    </a:p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aktuálně řešené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událostí</a:t>
                      </a: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aktuálně řešené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událost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3593877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 520 (2 847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053 (462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,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5736721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Školské zaříze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 191 (1 673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787 (406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30131732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Zařízení sociálních služeb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7 864 (174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358 (16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1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22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31287213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ýrobní závod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257 (14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9 (1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07300411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dravotnické zaříze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093 (724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0 (13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,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78510886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ěznice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953 (138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 (5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,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1537521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acoviště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421 (41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8 (7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98714489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ětské domovy/ústavy pro mladistvé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31 (1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 (2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21173336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bytovac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9 (23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(3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44307753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ětský tábor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3 (12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 (1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1447061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rganizovaný a profesionální sport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4 (19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 (2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95977792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ncelář, úřad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9 (11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 (3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14643755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ornictv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9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9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71997362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dejna, obchod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06883259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polečenská akce / klub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,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44915642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odinný výskyt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 (4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1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14883858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bčanská komunita/obec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3570336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tkání známých / příbuzných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28371184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ZS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60766749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rganizované společenské/rekreační/vzdělávací akce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3912153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Škole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65817810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rganizované a profesionální umělecké sbory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 (1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(1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63144375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vatba / pohřeb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55281701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licie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77216773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írkev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26318133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ravovac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(3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9151448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stat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4350621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0619996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abulka 5">
            <a:extLst>
              <a:ext uri="{FF2B5EF4-FFF2-40B4-BE49-F238E27FC236}">
                <a16:creationId xmlns:a16="http://schemas.microsoft.com/office/drawing/2014/main" id="{F8AA8311-83CF-40BE-9B08-408DCE2F852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66868550"/>
              </p:ext>
            </p:extLst>
          </p:nvPr>
        </p:nvGraphicFramePr>
        <p:xfrm>
          <a:off x="7361314" y="5543019"/>
          <a:ext cx="4556155" cy="866620"/>
        </p:xfrm>
        <a:graphic>
          <a:graphicData uri="http://schemas.openxmlformats.org/drawingml/2006/table">
            <a:tbl>
              <a:tblPr/>
              <a:tblGrid>
                <a:gridCol w="911231">
                  <a:extLst>
                    <a:ext uri="{9D8B030D-6E8A-4147-A177-3AD203B41FA5}">
                      <a16:colId xmlns:a16="http://schemas.microsoft.com/office/drawing/2014/main" val="3020856174"/>
                    </a:ext>
                  </a:extLst>
                </a:gridCol>
                <a:gridCol w="911231">
                  <a:extLst>
                    <a:ext uri="{9D8B030D-6E8A-4147-A177-3AD203B41FA5}">
                      <a16:colId xmlns:a16="http://schemas.microsoft.com/office/drawing/2014/main" val="3237825202"/>
                    </a:ext>
                  </a:extLst>
                </a:gridCol>
                <a:gridCol w="911231">
                  <a:extLst>
                    <a:ext uri="{9D8B030D-6E8A-4147-A177-3AD203B41FA5}">
                      <a16:colId xmlns:a16="http://schemas.microsoft.com/office/drawing/2014/main" val="373601134"/>
                    </a:ext>
                  </a:extLst>
                </a:gridCol>
                <a:gridCol w="911231">
                  <a:extLst>
                    <a:ext uri="{9D8B030D-6E8A-4147-A177-3AD203B41FA5}">
                      <a16:colId xmlns:a16="http://schemas.microsoft.com/office/drawing/2014/main" val="1947483592"/>
                    </a:ext>
                  </a:extLst>
                </a:gridCol>
                <a:gridCol w="911231">
                  <a:extLst>
                    <a:ext uri="{9D8B030D-6E8A-4147-A177-3AD203B41FA5}">
                      <a16:colId xmlns:a16="http://schemas.microsoft.com/office/drawing/2014/main" val="3668856520"/>
                    </a:ext>
                  </a:extLst>
                </a:gridCol>
              </a:tblGrid>
              <a:tr h="43331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62746649"/>
                  </a:ext>
                </a:extLst>
              </a:tr>
              <a:tr h="43331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,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EE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9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8E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BD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,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4062946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ctr"/>
            <a:r>
              <a:rPr lang="cs-CZ" sz="1400" dirty="0">
                <a:solidFill>
                  <a:srgbClr val="000000"/>
                </a:solidFill>
                <a:latin typeface="Calibri" panose="020F0502020204030204" pitchFamily="34" charset="0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2" name="TextovéPole 9">
            <a:extLst>
              <a:ext uri="{FF2B5EF4-FFF2-40B4-BE49-F238E27FC236}">
                <a16:creationId xmlns:a16="http://schemas.microsoft.com/office/drawing/2014/main" id="{9910970A-6134-46AA-A364-9A0ADC5200D4}"/>
              </a:ext>
            </a:extLst>
          </p:cNvPr>
          <p:cNvSpPr txBox="1"/>
          <p:nvPr/>
        </p:nvSpPr>
        <p:spPr>
          <a:xfrm>
            <a:off x="8256495" y="6516527"/>
            <a:ext cx="383751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200" dirty="0"/>
              <a:t>Zdroj: </a:t>
            </a:r>
            <a:r>
              <a:rPr lang="cs-CZ" sz="1200" dirty="0" err="1"/>
              <a:t>Covid</a:t>
            </a:r>
            <a:r>
              <a:rPr lang="cs-CZ" sz="1200" dirty="0"/>
              <a:t> </a:t>
            </a:r>
            <a:r>
              <a:rPr lang="cs-CZ" sz="1200" dirty="0" err="1"/>
              <a:t>Forms</a:t>
            </a:r>
            <a:r>
              <a:rPr lang="cs-CZ" sz="1200" dirty="0"/>
              <a:t> – Události</a:t>
            </a:r>
            <a:endParaRPr lang="cs-CZ" sz="1200" b="1" dirty="0">
              <a:solidFill>
                <a:srgbClr val="C00000"/>
              </a:solidFill>
            </a:endParaRPr>
          </a:p>
        </p:txBody>
      </p:sp>
      <p:sp>
        <p:nvSpPr>
          <p:cNvPr id="19" name="Obdélník 13">
            <a:extLst>
              <a:ext uri="{FF2B5EF4-FFF2-40B4-BE49-F238E27FC236}">
                <a16:creationId xmlns:a16="http://schemas.microsoft.com/office/drawing/2014/main" id="{137FC5AF-3D58-42B1-95A2-2E248AB0A1A8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b"/>
            <a:r>
              <a:rPr lang="cs-CZ" sz="2000" b="1" dirty="0">
                <a:solidFill>
                  <a:srgbClr val="C00000"/>
                </a:solidFill>
                <a:latin typeface="Calibri" panose="020F0502020204030204" pitchFamily="34" charset="0"/>
              </a:rPr>
              <a:t>Přehled za 11/2021</a:t>
            </a:r>
          </a:p>
        </p:txBody>
      </p:sp>
      <p:graphicFrame>
        <p:nvGraphicFramePr>
          <p:cNvPr id="13" name="Tabulka 10">
            <a:extLst>
              <a:ext uri="{FF2B5EF4-FFF2-40B4-BE49-F238E27FC236}">
                <a16:creationId xmlns:a16="http://schemas.microsoft.com/office/drawing/2014/main" id="{6A4A82EA-5F54-4BD2-BE9A-FF154B02213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27898008"/>
              </p:ext>
            </p:extLst>
          </p:nvPr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1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.1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.1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1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11.–</a:t>
                      </a:r>
                      <a:b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1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1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1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1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1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3 (1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7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9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4 (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graphicFrame>
        <p:nvGraphicFramePr>
          <p:cNvPr id="20" name="Graf 12">
            <a:extLst>
              <a:ext uri="{FF2B5EF4-FFF2-40B4-BE49-F238E27FC236}">
                <a16:creationId xmlns:a16="http://schemas.microsoft.com/office/drawing/2014/main" id="{EA20B1AB-DE43-4B7C-AE0D-6A5E7DBD0F0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474257042"/>
              </p:ext>
            </p:extLst>
          </p:nvPr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1" name="Obdélník 13">
            <a:extLst>
              <a:ext uri="{FF2B5EF4-FFF2-40B4-BE49-F238E27FC236}">
                <a16:creationId xmlns:a16="http://schemas.microsoft.com/office/drawing/2014/main" id="{A12C1C2B-BD3A-4305-A1C6-09ECF2E29611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b"/>
            <a:r>
              <a:rPr lang="cs-CZ" b="1" dirty="0">
                <a:solidFill>
                  <a:srgbClr val="000000"/>
                </a:solidFill>
                <a:latin typeface="Calibri" panose="020F0502020204030204" pitchFamily="34" charset="0"/>
              </a:rPr>
              <a:t>Počet zařazených osob</a:t>
            </a:r>
          </a:p>
        </p:txBody>
      </p:sp>
      <p:graphicFrame>
        <p:nvGraphicFramePr>
          <p:cNvPr id="22" name="Tabulka 14">
            <a:extLst>
              <a:ext uri="{FF2B5EF4-FFF2-40B4-BE49-F238E27FC236}">
                <a16:creationId xmlns:a16="http://schemas.microsoft.com/office/drawing/2014/main" id="{183D5F84-1757-499F-A478-BF43D84BD07D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7556501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71EB03AE-4054-44F7-9254-79404469E29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17060946"/>
              </p:ext>
            </p:extLst>
          </p:nvPr>
        </p:nvGraphicFramePr>
        <p:xfrm>
          <a:off x="7362824" y="5543019"/>
          <a:ext cx="4554645" cy="874168"/>
        </p:xfrm>
        <a:graphic>
          <a:graphicData uri="http://schemas.openxmlformats.org/drawingml/2006/table">
            <a:tbl>
              <a:tblPr/>
              <a:tblGrid>
                <a:gridCol w="910929">
                  <a:extLst>
                    <a:ext uri="{9D8B030D-6E8A-4147-A177-3AD203B41FA5}">
                      <a16:colId xmlns:a16="http://schemas.microsoft.com/office/drawing/2014/main" val="2444757265"/>
                    </a:ext>
                  </a:extLst>
                </a:gridCol>
                <a:gridCol w="910929">
                  <a:extLst>
                    <a:ext uri="{9D8B030D-6E8A-4147-A177-3AD203B41FA5}">
                      <a16:colId xmlns:a16="http://schemas.microsoft.com/office/drawing/2014/main" val="4015643702"/>
                    </a:ext>
                  </a:extLst>
                </a:gridCol>
                <a:gridCol w="910929">
                  <a:extLst>
                    <a:ext uri="{9D8B030D-6E8A-4147-A177-3AD203B41FA5}">
                      <a16:colId xmlns:a16="http://schemas.microsoft.com/office/drawing/2014/main" val="4137936007"/>
                    </a:ext>
                  </a:extLst>
                </a:gridCol>
                <a:gridCol w="910929">
                  <a:extLst>
                    <a:ext uri="{9D8B030D-6E8A-4147-A177-3AD203B41FA5}">
                      <a16:colId xmlns:a16="http://schemas.microsoft.com/office/drawing/2014/main" val="673284755"/>
                    </a:ext>
                  </a:extLst>
                </a:gridCol>
                <a:gridCol w="910929">
                  <a:extLst>
                    <a:ext uri="{9D8B030D-6E8A-4147-A177-3AD203B41FA5}">
                      <a16:colId xmlns:a16="http://schemas.microsoft.com/office/drawing/2014/main" val="886359018"/>
                    </a:ext>
                  </a:extLst>
                </a:gridCol>
              </a:tblGrid>
              <a:tr h="43708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54569438"/>
                  </a:ext>
                </a:extLst>
              </a:tr>
              <a:tr h="43708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,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B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FE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8E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B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BE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44178867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ctr"/>
            <a:r>
              <a:rPr lang="cs-CZ" sz="1400" dirty="0">
                <a:solidFill>
                  <a:srgbClr val="000000"/>
                </a:solidFill>
                <a:latin typeface="Calibri" panose="020F0502020204030204" pitchFamily="34" charset="0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2" name="TextovéPole 9">
            <a:extLst>
              <a:ext uri="{FF2B5EF4-FFF2-40B4-BE49-F238E27FC236}">
                <a16:creationId xmlns:a16="http://schemas.microsoft.com/office/drawing/2014/main" id="{9910970A-6134-46AA-A364-9A0ADC5200D4}"/>
              </a:ext>
            </a:extLst>
          </p:cNvPr>
          <p:cNvSpPr txBox="1"/>
          <p:nvPr/>
        </p:nvSpPr>
        <p:spPr>
          <a:xfrm>
            <a:off x="8256495" y="6516527"/>
            <a:ext cx="383751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200" dirty="0"/>
              <a:t>Zdroj: </a:t>
            </a:r>
            <a:r>
              <a:rPr lang="cs-CZ" sz="1200" dirty="0" err="1"/>
              <a:t>Covid</a:t>
            </a:r>
            <a:r>
              <a:rPr lang="cs-CZ" sz="1200" dirty="0"/>
              <a:t> </a:t>
            </a:r>
            <a:r>
              <a:rPr lang="cs-CZ" sz="1200" dirty="0" err="1"/>
              <a:t>Forms</a:t>
            </a:r>
            <a:r>
              <a:rPr lang="cs-CZ" sz="1200" dirty="0"/>
              <a:t> – Události</a:t>
            </a:r>
            <a:endParaRPr lang="cs-CZ" sz="1200" b="1" dirty="0">
              <a:solidFill>
                <a:srgbClr val="C00000"/>
              </a:solidFill>
            </a:endParaRPr>
          </a:p>
        </p:txBody>
      </p:sp>
      <p:sp>
        <p:nvSpPr>
          <p:cNvPr id="19" name="Obdélník 13">
            <a:extLst>
              <a:ext uri="{FF2B5EF4-FFF2-40B4-BE49-F238E27FC236}">
                <a16:creationId xmlns:a16="http://schemas.microsoft.com/office/drawing/2014/main" id="{137FC5AF-3D58-42B1-95A2-2E248AB0A1A8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b"/>
            <a:r>
              <a:rPr lang="cs-CZ" sz="2000" b="1" dirty="0">
                <a:solidFill>
                  <a:srgbClr val="C00000"/>
                </a:solidFill>
                <a:latin typeface="Calibri" panose="020F0502020204030204" pitchFamily="34" charset="0"/>
              </a:rPr>
              <a:t>Přehled za 12/2021</a:t>
            </a:r>
          </a:p>
        </p:txBody>
      </p:sp>
      <p:graphicFrame>
        <p:nvGraphicFramePr>
          <p:cNvPr id="13" name="Tabulka 10">
            <a:extLst>
              <a:ext uri="{FF2B5EF4-FFF2-40B4-BE49-F238E27FC236}">
                <a16:creationId xmlns:a16="http://schemas.microsoft.com/office/drawing/2014/main" id="{6A4A82EA-5F54-4BD2-BE9A-FF154B02213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84782678"/>
              </p:ext>
            </p:extLst>
          </p:nvPr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1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1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12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1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12.–</a:t>
                      </a:r>
                      <a:b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1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12.–</a:t>
                      </a:r>
                      <a:b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1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12.–</a:t>
                      </a:r>
                      <a:b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4 (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1 (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6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4 (1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graphicFrame>
        <p:nvGraphicFramePr>
          <p:cNvPr id="20" name="Graf 12">
            <a:extLst>
              <a:ext uri="{FF2B5EF4-FFF2-40B4-BE49-F238E27FC236}">
                <a16:creationId xmlns:a16="http://schemas.microsoft.com/office/drawing/2014/main" id="{EA20B1AB-DE43-4B7C-AE0D-6A5E7DBD0F0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69781371"/>
              </p:ext>
            </p:extLst>
          </p:nvPr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1" name="Obdélník 13">
            <a:extLst>
              <a:ext uri="{FF2B5EF4-FFF2-40B4-BE49-F238E27FC236}">
                <a16:creationId xmlns:a16="http://schemas.microsoft.com/office/drawing/2014/main" id="{A12C1C2B-BD3A-4305-A1C6-09ECF2E29611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b"/>
            <a:r>
              <a:rPr lang="cs-CZ" b="1" dirty="0">
                <a:solidFill>
                  <a:srgbClr val="000000"/>
                </a:solidFill>
                <a:latin typeface="Calibri" panose="020F0502020204030204" pitchFamily="34" charset="0"/>
              </a:rPr>
              <a:t>Počet zařazených osob</a:t>
            </a:r>
          </a:p>
        </p:txBody>
      </p:sp>
      <p:graphicFrame>
        <p:nvGraphicFramePr>
          <p:cNvPr id="22" name="Tabulka 14">
            <a:extLst>
              <a:ext uri="{FF2B5EF4-FFF2-40B4-BE49-F238E27FC236}">
                <a16:creationId xmlns:a16="http://schemas.microsoft.com/office/drawing/2014/main" id="{183D5F84-1757-499F-A478-BF43D84BD07D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6424471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1FAB19B5-2DAA-4BE4-B7BF-9A3D1C2F0D0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98198535"/>
              </p:ext>
            </p:extLst>
          </p:nvPr>
        </p:nvGraphicFramePr>
        <p:xfrm>
          <a:off x="7349384" y="5543019"/>
          <a:ext cx="4568082" cy="874168"/>
        </p:xfrm>
        <a:graphic>
          <a:graphicData uri="http://schemas.openxmlformats.org/drawingml/2006/table">
            <a:tbl>
              <a:tblPr/>
              <a:tblGrid>
                <a:gridCol w="761347">
                  <a:extLst>
                    <a:ext uri="{9D8B030D-6E8A-4147-A177-3AD203B41FA5}">
                      <a16:colId xmlns:a16="http://schemas.microsoft.com/office/drawing/2014/main" val="573066593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3559281090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856200961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1886481761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9860065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221180634"/>
                    </a:ext>
                  </a:extLst>
                </a:gridCol>
              </a:tblGrid>
              <a:tr h="43708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86653768"/>
                  </a:ext>
                </a:extLst>
              </a:tr>
              <a:tr h="43708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9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,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B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F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36059638"/>
                  </a:ext>
                </a:extLst>
              </a:tr>
            </a:tbl>
          </a:graphicData>
        </a:graphic>
      </p:graphicFrame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36304088"/>
              </p:ext>
            </p:extLst>
          </p:nvPr>
        </p:nvGraphicFramePr>
        <p:xfrm>
          <a:off x="190493" y="1111953"/>
          <a:ext cx="6151777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3650229900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12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.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4 (1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553672776"/>
              </p:ext>
            </p:extLst>
          </p:nvPr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1/2022 </a:t>
            </a:r>
          </a:p>
        </p:txBody>
      </p:sp>
      <p:sp>
        <p:nvSpPr>
          <p:cNvPr id="12" name="TextovéPole 9">
            <a:extLst>
              <a:ext uri="{FF2B5EF4-FFF2-40B4-BE49-F238E27FC236}">
                <a16:creationId xmlns:a16="http://schemas.microsoft.com/office/drawing/2014/main" id="{FC5EFE55-EE2D-476E-94E8-91E4F58258C1}"/>
              </a:ext>
            </a:extLst>
          </p:cNvPr>
          <p:cNvSpPr txBox="1"/>
          <p:nvPr/>
        </p:nvSpPr>
        <p:spPr>
          <a:xfrm>
            <a:off x="8256495" y="6516527"/>
            <a:ext cx="383751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200" dirty="0"/>
              <a:t>Zdroj: </a:t>
            </a:r>
            <a:r>
              <a:rPr lang="cs-CZ" sz="1200" dirty="0" err="1"/>
              <a:t>Covid</a:t>
            </a:r>
            <a:r>
              <a:rPr lang="cs-CZ" sz="1200" dirty="0"/>
              <a:t> </a:t>
            </a:r>
            <a:r>
              <a:rPr lang="cs-CZ" sz="1200" dirty="0" err="1"/>
              <a:t>Forms</a:t>
            </a:r>
            <a:r>
              <a:rPr lang="cs-CZ" sz="1200" dirty="0"/>
              <a:t> – Události, </a:t>
            </a:r>
            <a:r>
              <a:rPr lang="cs-CZ" sz="1200" b="1" dirty="0">
                <a:solidFill>
                  <a:srgbClr val="C00000"/>
                </a:solidFill>
              </a:rPr>
              <a:t>stav k 15. 1. 2022</a:t>
            </a:r>
          </a:p>
        </p:txBody>
      </p:sp>
    </p:spTree>
    <p:extLst>
      <p:ext uri="{BB962C8B-B14F-4D97-AF65-F5344CB8AC3E}">
        <p14:creationId xmlns:p14="http://schemas.microsoft.com/office/powerpoint/2010/main" val="123761958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09563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17. 11. – 14. 12. 2021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7F70C8D4-8774-4E44-8C03-00FA24FACFDA}"/>
              </a:ext>
            </a:extLst>
          </p:cNvPr>
          <p:cNvSpPr txBox="1"/>
          <p:nvPr/>
        </p:nvSpPr>
        <p:spPr>
          <a:xfrm>
            <a:off x="8283389" y="6516527"/>
            <a:ext cx="38106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9" name="Tabulka 8">
            <a:extLst>
              <a:ext uri="{FF2B5EF4-FFF2-40B4-BE49-F238E27FC236}">
                <a16:creationId xmlns:a16="http://schemas.microsoft.com/office/drawing/2014/main" id="{AFF2C759-F814-4407-BA8B-625101FFEF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71911485"/>
              </p:ext>
            </p:extLst>
          </p:nvPr>
        </p:nvGraphicFramePr>
        <p:xfrm>
          <a:off x="1372685" y="1009672"/>
          <a:ext cx="9684753" cy="5503153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325938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189492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 dirty="0">
                          <a:effectLst/>
                        </a:rPr>
                        <a:t>Datum</a:t>
                      </a:r>
                      <a:endParaRPr lang="cs-CZ" sz="12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Název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Počet nakažených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SEN pro SEN Javorní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Černovice - Lidmaň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eriatrické centrum Týniště nad Orlic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sv-S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SOP Praha 15, DPS Janovská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Habrová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522887529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ZR Centrin Unhošť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722747539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Pilník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053868139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ve Věži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083303711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tegrované centrum Vilémov pro osoby se zdr. postižení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284759251"/>
                  </a:ext>
                </a:extLst>
              </a:tr>
              <a:tr h="35727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tyřlístek - centrum pro osoby se zdravotním postižením Ostrava, příspěvková organizace  Domov Třebov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299483758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zheimer Píse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147129260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ZP Marianska 4 - K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819774051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ům dobré vůle Žáry, M.Albrechtice, Žáry 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552678755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aritní dům Salvátor Krnov, M.Švabinského 10, Krn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162866978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ový dům pro matky s dětmi Pouch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02837375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oukromé senior centrum Nechan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437036618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NEZDENICE21 U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614005470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6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D Anna Český Brod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943176228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ům domácí péče Samopš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24288581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tyřlístek - Domov Barevný svět, Petřkov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383903459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Max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26018896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S Skřivan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948683019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ROŽNOV21 VS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117293062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VALMEZ21 VS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147237985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D a DPS Zákup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079742434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seniorů Pampelišk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100010272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řístav, Sněženková, Praha 1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9363377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spolek Klidné stáří, Březová 372/83, Děčín III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8001019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CUSTOMSORTGLOBALLY" val="Fals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7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7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heme/theme1.xml><?xml version="1.0" encoding="utf-8"?>
<a:theme xmlns:a="http://schemas.openxmlformats.org/drawingml/2006/main" name="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web-sablona.potx" id="{C38994A9-F061-444B-9E05-9BEC267D622E}" vid="{A910D504-DA16-416F-8B23-CC286EF2F513}"/>
    </a:ext>
  </a:extLst>
</a:theme>
</file>

<file path=ppt/theme/theme2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COVID-web-sablona</Template>
  <TotalTime>8604</TotalTime>
  <Words>14928</Words>
  <Application>Microsoft Office PowerPoint</Application>
  <PresentationFormat>Širokoúhlá obrazovka</PresentationFormat>
  <Paragraphs>6452</Paragraphs>
  <Slides>58</Slides>
  <Notes>0</Notes>
  <HiddenSlides>0</HiddenSlides>
  <MMClips>0</MMClips>
  <ScaleCrop>false</ScaleCrop>
  <HeadingPairs>
    <vt:vector size="6" baseType="variant">
      <vt:variant>
        <vt:lpstr>Použitá písma</vt:lpstr>
      </vt:variant>
      <vt:variant>
        <vt:i4>3</vt:i4>
      </vt:variant>
      <vt:variant>
        <vt:lpstr>Motiv</vt:lpstr>
      </vt:variant>
      <vt:variant>
        <vt:i4>1</vt:i4>
      </vt:variant>
      <vt:variant>
        <vt:lpstr>Nadpisy snímků</vt:lpstr>
      </vt:variant>
      <vt:variant>
        <vt:i4>58</vt:i4>
      </vt:variant>
    </vt:vector>
  </HeadingPairs>
  <TitlesOfParts>
    <vt:vector size="62" baseType="lpstr">
      <vt:lpstr>Arial</vt:lpstr>
      <vt:lpstr>Calibri</vt:lpstr>
      <vt:lpstr>Roboto</vt:lpstr>
      <vt:lpstr>Motiv Office</vt:lpstr>
      <vt:lpstr>Datová a informační základna  pro management pandemie COVID-19</vt:lpstr>
      <vt:lpstr>Úvod – zdroje dat a koncepce analýz </vt:lpstr>
      <vt:lpstr>Prezentace aplikace PowerPoint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Datová a informační základna  pro management pandemie COVID-19</vt:lpstr>
      <vt:lpstr>Prezentace aplikace PowerPoint</vt:lpstr>
      <vt:lpstr>Souhrn situace v sociálních zařízeních pobytových služeb </vt:lpstr>
      <vt:lpstr>Souhrn situace v sociálních zařízeních pobytových služeb </vt:lpstr>
      <vt:lpstr>Souhrn situace v sociálních zařízeních pobytových služeb </vt:lpstr>
      <vt:lpstr>Souhrn situace v sociálních zařízeních pobytových služeb </vt:lpstr>
      <vt:lpstr>Souhrn situace v sociálních zařízeních pobytových služeb </vt:lpstr>
      <vt:lpstr>Počet nově pozitivních klientů v sociálních službách</vt:lpstr>
      <vt:lpstr>Počet nově pozitivních pracovníků v sociálních službách</vt:lpstr>
      <vt:lpstr>Počet nově pozitivních osob v sociálních službách</vt:lpstr>
      <vt:lpstr>Počet nově pozitivních pracovníků a klientů v sociálních službách</vt:lpstr>
      <vt:lpstr>Počet zemřelých klientů v sociálních službách</vt:lpstr>
      <vt:lpstr>Počet zemřelých klientů a pracovníků v sociálních službách</vt:lpstr>
      <vt:lpstr>Klienti a pracovníci v sociálních službách vyžadující hospitalizaci z důvodu COVID-19</vt:lpstr>
      <vt:lpstr>Klienti a pracovníci v sociálních službách s těžkým průběhem nemoci</vt:lpstr>
      <vt:lpstr>Datová a informační základna  pro management pandemie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Události řešené od 1. října 2020 – celá ČR</vt:lpstr>
      <vt:lpstr>Události řešené od 1. ledna 2021 – celá Č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zentace aplikace PowerPoint</dc:title>
  <dc:creator>Mužík Jan RNDr. Ph.D.</dc:creator>
  <cp:lastModifiedBy>Dušek Ladislav prof. RNDr. Ph.D.</cp:lastModifiedBy>
  <cp:revision>610</cp:revision>
  <dcterms:created xsi:type="dcterms:W3CDTF">2020-11-14T10:09:00Z</dcterms:created>
  <dcterms:modified xsi:type="dcterms:W3CDTF">2022-01-16T17:08:29Z</dcterms:modified>
</cp:coreProperties>
</file>